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6.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7.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8.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9.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10.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1.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2.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3.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364" r:id="rId6"/>
    <p:sldMasterId id="2147484371" r:id="rId7"/>
    <p:sldMasterId id="2147483716" r:id="rId8"/>
    <p:sldMasterId id="2147484276" r:id="rId9"/>
    <p:sldMasterId id="2147484300" r:id="rId10"/>
    <p:sldMasterId id="2147483782" r:id="rId11"/>
    <p:sldMasterId id="2147484176" r:id="rId12"/>
    <p:sldMasterId id="2147484211" r:id="rId13"/>
    <p:sldMasterId id="2147484232" r:id="rId14"/>
    <p:sldMasterId id="2147483732" r:id="rId15"/>
    <p:sldMasterId id="2147484356" r:id="rId16"/>
    <p:sldMasterId id="2147483660" r:id="rId17"/>
  </p:sldMasterIdLst>
  <p:notesMasterIdLst>
    <p:notesMasterId r:id="rId46"/>
  </p:notesMasterIdLst>
  <p:sldIdLst>
    <p:sldId id="291" r:id="rId18"/>
    <p:sldId id="3035" r:id="rId19"/>
    <p:sldId id="2076136240" r:id="rId20"/>
    <p:sldId id="292" r:id="rId21"/>
    <p:sldId id="327" r:id="rId22"/>
    <p:sldId id="328" r:id="rId23"/>
    <p:sldId id="2076136260" r:id="rId24"/>
    <p:sldId id="2076136252" r:id="rId25"/>
    <p:sldId id="1630" r:id="rId26"/>
    <p:sldId id="2076136254" r:id="rId27"/>
    <p:sldId id="2076136253" r:id="rId28"/>
    <p:sldId id="276" r:id="rId29"/>
    <p:sldId id="2076136255" r:id="rId30"/>
    <p:sldId id="2076136241" r:id="rId31"/>
    <p:sldId id="272" r:id="rId32"/>
    <p:sldId id="294" r:id="rId33"/>
    <p:sldId id="299" r:id="rId34"/>
    <p:sldId id="296" r:id="rId35"/>
    <p:sldId id="298" r:id="rId36"/>
    <p:sldId id="297" r:id="rId37"/>
    <p:sldId id="305" r:id="rId38"/>
    <p:sldId id="295" r:id="rId39"/>
    <p:sldId id="301" r:id="rId40"/>
    <p:sldId id="302" r:id="rId41"/>
    <p:sldId id="306" r:id="rId42"/>
    <p:sldId id="318" r:id="rId43"/>
    <p:sldId id="303" r:id="rId44"/>
    <p:sldId id="2076136372"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B84597E1-9689-4F8B-BD75-27C846A049AE}">
          <p14:sldIdLst>
            <p14:sldId id="291"/>
            <p14:sldId id="3035"/>
            <p14:sldId id="2076136240"/>
            <p14:sldId id="292"/>
            <p14:sldId id="327"/>
            <p14:sldId id="328"/>
            <p14:sldId id="2076136260"/>
          </p14:sldIdLst>
        </p14:section>
        <p14:section name="Licensing" id="{DD00DE64-DF46-4145-A117-27A07F2DECE0}">
          <p14:sldIdLst>
            <p14:sldId id="2076136252"/>
            <p14:sldId id="1630"/>
            <p14:sldId id="2076136254"/>
            <p14:sldId id="2076136253"/>
            <p14:sldId id="276"/>
            <p14:sldId id="2076136255"/>
          </p14:sldIdLst>
        </p14:section>
        <p14:section name="Why Power BI" id="{E58A275B-5E31-4E54-9055-79002F0EA477}">
          <p14:sldIdLst>
            <p14:sldId id="2076136241"/>
            <p14:sldId id="272"/>
            <p14:sldId id="294"/>
            <p14:sldId id="299"/>
            <p14:sldId id="296"/>
            <p14:sldId id="298"/>
            <p14:sldId id="297"/>
            <p14:sldId id="305"/>
            <p14:sldId id="295"/>
            <p14:sldId id="301"/>
            <p14:sldId id="302"/>
            <p14:sldId id="306"/>
            <p14:sldId id="318"/>
            <p14:sldId id="303"/>
            <p14:sldId id="2076136372"/>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2"/>
    <a:srgbClr val="339933"/>
    <a:srgbClr val="FFCC00"/>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D6EB750-704B-4C9D-B4A1-AA77C201457D}" v="2" dt="2021-06-14T09:00:09.56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508" autoAdjust="0"/>
    <p:restoredTop sz="84630" autoAdjust="0"/>
  </p:normalViewPr>
  <p:slideViewPr>
    <p:cSldViewPr snapToGrid="0">
      <p:cViewPr varScale="1">
        <p:scale>
          <a:sx n="97" d="100"/>
          <a:sy n="97" d="100"/>
        </p:scale>
        <p:origin x="792"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Master" Target="slideMasters/slideMaster11.xml"/><Relationship Id="rId29" Type="http://schemas.openxmlformats.org/officeDocument/2006/relationships/slide" Target="slides/slide12.xml"/><Relationship Id="rId11" Type="http://schemas.openxmlformats.org/officeDocument/2006/relationships/slideMaster" Target="slideMasters/slideMaster6.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 Type="http://schemas.openxmlformats.org/officeDocument/2006/relationships/customXml" Target="../customXml/item5.xml"/><Relationship Id="rId15" Type="http://schemas.openxmlformats.org/officeDocument/2006/relationships/slideMaster" Target="slideMasters/slideMaster10.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viewProps" Target="viewProps.xml"/><Relationship Id="rId10" Type="http://schemas.openxmlformats.org/officeDocument/2006/relationships/slideMaster" Target="slideMasters/slideMaster5.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slide" Target="slides/slide27.xml"/><Relationship Id="rId52"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presProps" Target="presProps.xml"/><Relationship Id="rId8" Type="http://schemas.openxmlformats.org/officeDocument/2006/relationships/slideMaster" Target="slideMasters/slideMaster3.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7.xml"/><Relationship Id="rId17" Type="http://schemas.openxmlformats.org/officeDocument/2006/relationships/slideMaster" Target="slideMasters/slideMaster12.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notesMaster" Target="notesMasters/notesMaster1.xml"/><Relationship Id="rId20" Type="http://schemas.openxmlformats.org/officeDocument/2006/relationships/slide" Target="slides/slide3.xml"/><Relationship Id="rId41"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Master" Target="slideMasters/slideMaster1.xml"/></Relationships>
</file>

<file path=ppt/diagrams/_rels/data1.xml.rels><?xml version="1.0" encoding="UTF-8" standalone="yes"?>
<Relationships xmlns="http://schemas.openxmlformats.org/package/2006/relationships"><Relationship Id="rId1" Type="http://schemas.openxmlformats.org/officeDocument/2006/relationships/image" Target="../media/image77.jpg"/></Relationships>
</file>

<file path=ppt/diagrams/_rels/drawing1.xml.rels><?xml version="1.0" encoding="UTF-8" standalone="yes"?>
<Relationships xmlns="http://schemas.openxmlformats.org/package/2006/relationships"><Relationship Id="rId1" Type="http://schemas.openxmlformats.org/officeDocument/2006/relationships/image" Target="../media/image77.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B117079-419C-4401-85C7-3227B17C4DFC}" type="doc">
      <dgm:prSet loTypeId="urn:microsoft.com/office/officeart/2008/layout/CircularPictureCallout" loCatId="picture" qsTypeId="urn:microsoft.com/office/officeart/2005/8/quickstyle/simple1" qsCatId="simple" csTypeId="urn:microsoft.com/office/officeart/2005/8/colors/accent1_2" csCatId="accent1" phldr="1"/>
      <dgm:spPr/>
    </dgm:pt>
    <dgm:pt modelId="{DDC4F88F-5253-4279-B4B1-03927E567F36}">
      <dgm:prSet phldrT="[Text]" phldr="1"/>
      <dgm:spPr/>
      <dgm:t>
        <a:bodyPr/>
        <a:lstStyle/>
        <a:p>
          <a:endParaRPr lang="en-US" dirty="0"/>
        </a:p>
      </dgm:t>
    </dgm:pt>
    <dgm:pt modelId="{88E50942-C60C-4860-B8DB-13AFB41FD299}" type="sibTrans" cxnId="{67712279-2E6C-4F9A-8FFA-11B1605E39A9}">
      <dgm:prSet/>
      <dgm:spPr>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t>
        <a:bodyPr/>
        <a:lstStyle/>
        <a:p>
          <a:endParaRPr lang="en-US"/>
        </a:p>
      </dgm:t>
    </dgm:pt>
    <dgm:pt modelId="{2B497D52-51C3-4043-B18C-5DF73D4AE5EA}" type="parTrans" cxnId="{67712279-2E6C-4F9A-8FFA-11B1605E39A9}">
      <dgm:prSet/>
      <dgm:spPr/>
      <dgm:t>
        <a:bodyPr/>
        <a:lstStyle/>
        <a:p>
          <a:endParaRPr lang="en-US"/>
        </a:p>
      </dgm:t>
    </dgm:pt>
    <dgm:pt modelId="{B42D0878-A76E-4699-A37E-AFD1CF484036}" type="pres">
      <dgm:prSet presAssocID="{5B117079-419C-4401-85C7-3227B17C4DFC}" presName="Name0" presStyleCnt="0">
        <dgm:presLayoutVars>
          <dgm:chMax val="7"/>
          <dgm:chPref val="7"/>
          <dgm:dir/>
        </dgm:presLayoutVars>
      </dgm:prSet>
      <dgm:spPr/>
    </dgm:pt>
    <dgm:pt modelId="{AA86EE62-8D86-4469-BDA4-BDDEFDF36B81}" type="pres">
      <dgm:prSet presAssocID="{5B117079-419C-4401-85C7-3227B17C4DFC}" presName="Name1" presStyleCnt="0"/>
      <dgm:spPr/>
    </dgm:pt>
    <dgm:pt modelId="{9765F40D-AC1F-4608-BD3E-E80E6D1DEE73}" type="pres">
      <dgm:prSet presAssocID="{88E50942-C60C-4860-B8DB-13AFB41FD299}" presName="picture_1" presStyleCnt="0"/>
      <dgm:spPr/>
    </dgm:pt>
    <dgm:pt modelId="{BBBBA0D4-11C4-4231-90ED-5F3CEA8BB7FD}" type="pres">
      <dgm:prSet presAssocID="{88E50942-C60C-4860-B8DB-13AFB41FD299}" presName="pictureRepeatNode" presStyleLbl="alignImgPlace1" presStyleIdx="0" presStyleCnt="1" custScaleX="69826" custScaleY="70108" custLinFactNeighborX="69557" custLinFactNeighborY="-53714"/>
      <dgm:spPr/>
    </dgm:pt>
    <dgm:pt modelId="{28F2B948-1EA8-4F0C-B4FD-4A5AE83B30EA}" type="pres">
      <dgm:prSet presAssocID="{DDC4F88F-5253-4279-B4B1-03927E567F36}" presName="text_1" presStyleLbl="node1" presStyleIdx="0" presStyleCnt="0" custLinFactX="62775" custLinFactNeighborX="100000" custLinFactNeighborY="44563">
        <dgm:presLayoutVars>
          <dgm:bulletEnabled val="1"/>
        </dgm:presLayoutVars>
      </dgm:prSet>
      <dgm:spPr/>
    </dgm:pt>
  </dgm:ptLst>
  <dgm:cxnLst>
    <dgm:cxn modelId="{67712279-2E6C-4F9A-8FFA-11B1605E39A9}" srcId="{5B117079-419C-4401-85C7-3227B17C4DFC}" destId="{DDC4F88F-5253-4279-B4B1-03927E567F36}" srcOrd="0" destOrd="0" parTransId="{2B497D52-51C3-4043-B18C-5DF73D4AE5EA}" sibTransId="{88E50942-C60C-4860-B8DB-13AFB41FD299}"/>
    <dgm:cxn modelId="{830F5791-7A07-4D53-9A51-FA48E074E458}" type="presOf" srcId="{DDC4F88F-5253-4279-B4B1-03927E567F36}" destId="{28F2B948-1EA8-4F0C-B4FD-4A5AE83B30EA}" srcOrd="0" destOrd="0" presId="urn:microsoft.com/office/officeart/2008/layout/CircularPictureCallout"/>
    <dgm:cxn modelId="{D5D845C3-9935-4569-B55A-89B925BD2170}" type="presOf" srcId="{5B117079-419C-4401-85C7-3227B17C4DFC}" destId="{B42D0878-A76E-4699-A37E-AFD1CF484036}" srcOrd="0" destOrd="0" presId="urn:microsoft.com/office/officeart/2008/layout/CircularPictureCallout"/>
    <dgm:cxn modelId="{7E9224EA-A04E-4518-8175-3FCCDB9FD45E}" type="presOf" srcId="{88E50942-C60C-4860-B8DB-13AFB41FD299}" destId="{BBBBA0D4-11C4-4231-90ED-5F3CEA8BB7FD}" srcOrd="0" destOrd="0" presId="urn:microsoft.com/office/officeart/2008/layout/CircularPictureCallout"/>
    <dgm:cxn modelId="{0831A6FF-A7A9-463F-8DB1-3FBF5AF86A1D}" type="presParOf" srcId="{B42D0878-A76E-4699-A37E-AFD1CF484036}" destId="{AA86EE62-8D86-4469-BDA4-BDDEFDF36B81}" srcOrd="0" destOrd="0" presId="urn:microsoft.com/office/officeart/2008/layout/CircularPictureCallout"/>
    <dgm:cxn modelId="{74207CE9-D0D3-4966-8208-9B3803CB028B}" type="presParOf" srcId="{AA86EE62-8D86-4469-BDA4-BDDEFDF36B81}" destId="{9765F40D-AC1F-4608-BD3E-E80E6D1DEE73}" srcOrd="0" destOrd="0" presId="urn:microsoft.com/office/officeart/2008/layout/CircularPictureCallout"/>
    <dgm:cxn modelId="{93332349-47BF-4FFE-8CC9-F175E49EA487}" type="presParOf" srcId="{9765F40D-AC1F-4608-BD3E-E80E6D1DEE73}" destId="{BBBBA0D4-11C4-4231-90ED-5F3CEA8BB7FD}" srcOrd="0" destOrd="0" presId="urn:microsoft.com/office/officeart/2008/layout/CircularPictureCallout"/>
    <dgm:cxn modelId="{99BB4E63-9F00-4656-B7DD-EC1E59FE0917}" type="presParOf" srcId="{AA86EE62-8D86-4469-BDA4-BDDEFDF36B81}" destId="{28F2B948-1EA8-4F0C-B4FD-4A5AE83B30EA}" srcOrd="1" destOrd="0" presId="urn:microsoft.com/office/officeart/2008/layout/CircularPictureCallou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BBA0D4-11C4-4231-90ED-5F3CEA8BB7FD}">
      <dsp:nvSpPr>
        <dsp:cNvPr id="0" name=""/>
        <dsp:cNvSpPr/>
      </dsp:nvSpPr>
      <dsp:spPr>
        <a:xfrm>
          <a:off x="4172288" y="424203"/>
          <a:ext cx="2238036" cy="2247075"/>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F2B948-1EA8-4F0C-B4FD-4A5AE83B30EA}">
      <dsp:nvSpPr>
        <dsp:cNvPr id="0" name=""/>
        <dsp:cNvSpPr/>
      </dsp:nvSpPr>
      <dsp:spPr>
        <a:xfrm>
          <a:off x="4359020" y="3840066"/>
          <a:ext cx="2051304" cy="1057703"/>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marL="0" lvl="0" indent="0" algn="ctr" defTabSz="2889250">
            <a:lnSpc>
              <a:spcPct val="90000"/>
            </a:lnSpc>
            <a:spcBef>
              <a:spcPct val="0"/>
            </a:spcBef>
            <a:spcAft>
              <a:spcPct val="35000"/>
            </a:spcAft>
            <a:buNone/>
          </a:pPr>
          <a:endParaRPr lang="en-US" sz="6500" kern="1200" dirty="0"/>
        </a:p>
      </dsp:txBody>
      <dsp:txXfrm>
        <a:off x="4359020" y="3840066"/>
        <a:ext cx="2051304" cy="1057703"/>
      </dsp:txXfrm>
    </dsp:sp>
  </dsp:spTree>
</dsp:drawing>
</file>

<file path=ppt/diagrams/layout1.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56A1C0-0B3F-46C8-937E-0F5886A87B7C}" type="datetimeFigureOut">
              <a:rPr lang="en-US" smtClean="0"/>
              <a:t>6/1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20C58C-FFDB-469E-965A-A16F30368694}"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azure.microsoft.com/en-us/documentation/services/service-bus/"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0104AC-358F-42B0-8F9D-3721DD4EBF06}" type="slidenum">
              <a:rPr lang="en-US" smtClean="0"/>
              <a:t>1</a:t>
            </a:fld>
            <a:endParaRPr lang="en-US"/>
          </a:p>
        </p:txBody>
      </p:sp>
    </p:spTree>
    <p:extLst>
      <p:ext uri="{BB962C8B-B14F-4D97-AF65-F5344CB8AC3E}">
        <p14:creationId xmlns:p14="http://schemas.microsoft.com/office/powerpoint/2010/main" val="6115258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latin typeface="+mn-lt"/>
                <a:ea typeface="Calibri" panose="020F0502020204030204" pitchFamily="34" charset="0"/>
                <a:cs typeface="Times New Roman" panose="02020603050405020304" pitchFamily="18" charset="0"/>
              </a:rPr>
              <a:t>Power BI is a Software as a Service (SaaS) BI solution</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sz="1200" kern="1200" dirty="0">
              <a:solidFill>
                <a:schemeClr val="tx1"/>
              </a:solidFill>
              <a:latin typeface="+mn-lt"/>
              <a:ea typeface="Calibri" panose="020F0502020204030204" pitchFamily="34" charset="0"/>
              <a:cs typeface="Times New Roman" panose="02020603050405020304" pitchFamily="18"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b="1" kern="1200" dirty="0">
                <a:solidFill>
                  <a:schemeClr val="tx1"/>
                </a:solidFill>
                <a:latin typeface="+mn-lt"/>
                <a:ea typeface="Calibri" panose="020F0502020204030204" pitchFamily="34" charset="0"/>
                <a:cs typeface="Times New Roman" panose="02020603050405020304" pitchFamily="18" charset="0"/>
              </a:rPr>
              <a:t>Talking points:</a:t>
            </a:r>
            <a:br>
              <a:rPr lang="en-US" sz="1200" b="1" kern="1200" dirty="0">
                <a:solidFill>
                  <a:schemeClr val="tx1"/>
                </a:solidFill>
                <a:latin typeface="+mn-lt"/>
                <a:ea typeface="Calibri" panose="020F0502020204030204" pitchFamily="34" charset="0"/>
                <a:cs typeface="Times New Roman" panose="02020603050405020304" pitchFamily="18" charset="0"/>
              </a:rPr>
            </a:br>
            <a:r>
              <a:rPr lang="en-US" sz="1200" b="0" kern="1200" dirty="0">
                <a:solidFill>
                  <a:schemeClr val="tx1"/>
                </a:solidFill>
                <a:latin typeface="+mn-lt"/>
                <a:ea typeface="Calibri" panose="020F0502020204030204" pitchFamily="34" charset="0"/>
                <a:cs typeface="Times New Roman" panose="02020603050405020304" pitchFamily="18" charset="0"/>
              </a:rPr>
              <a:t>Power BI</a:t>
            </a:r>
            <a:r>
              <a:rPr lang="en-US" sz="1200" kern="1200" dirty="0">
                <a:solidFill>
                  <a:schemeClr val="tx1"/>
                </a:solidFill>
                <a:latin typeface="+mn-lt"/>
                <a:ea typeface="Calibri" panose="020F0502020204030204" pitchFamily="34" charset="0"/>
                <a:cs typeface="Times New Roman" panose="02020603050405020304" pitchFamily="18" charset="0"/>
              </a:rPr>
              <a:t> enables fast deployment with</a:t>
            </a:r>
            <a:r>
              <a:rPr lang="en-US" sz="1200" kern="1200" baseline="0" dirty="0">
                <a:solidFill>
                  <a:schemeClr val="tx1"/>
                </a:solidFill>
                <a:latin typeface="+mn-lt"/>
                <a:ea typeface="Calibri" panose="020F0502020204030204" pitchFamily="34" charset="0"/>
                <a:cs typeface="Times New Roman" panose="02020603050405020304" pitchFamily="18" charset="0"/>
              </a:rPr>
              <a:t> guaranteed SLAs for uptim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baseline="0" dirty="0">
                <a:solidFill>
                  <a:schemeClr val="tx1"/>
                </a:solidFill>
                <a:latin typeface="+mn-lt"/>
                <a:ea typeface="Calibri" panose="020F0502020204030204" pitchFamily="34" charset="0"/>
                <a:cs typeface="Times New Roman" panose="02020603050405020304" pitchFamily="18" charset="0"/>
              </a:rPr>
              <a:t>Power BI scales to your demands, without having to worry about new hardware acquisitions and maintenanc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latin typeface="+mn-lt"/>
                <a:ea typeface="Calibri" panose="020F0502020204030204" pitchFamily="34" charset="0"/>
                <a:cs typeface="Times New Roman" panose="02020603050405020304" pitchFamily="18" charset="0"/>
              </a:rPr>
              <a:t>The service is updated for you</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b="0" i="0" kern="1200" dirty="0">
                <a:solidFill>
                  <a:schemeClr val="tx1"/>
                </a:solidFill>
                <a:effectLst/>
                <a:latin typeface="+mn-lt"/>
                <a:ea typeface="+mn-ea"/>
                <a:cs typeface="+mn-cs"/>
              </a:rPr>
              <a:t>Tenant management and usage logs for Power BI for your company is done through the Power BI admin portal.</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b="0" i="0" kern="1200" baseline="0" dirty="0">
                <a:solidFill>
                  <a:schemeClr val="tx1"/>
                </a:solidFill>
                <a:effectLst/>
                <a:latin typeface="+mn-lt"/>
                <a:ea typeface="+mn-ea"/>
                <a:cs typeface="+mn-cs"/>
              </a:rPr>
              <a:t>Security and auditing are managed in the Office 365 Admin Portal.</a:t>
            </a:r>
            <a:r>
              <a:rPr lang="en-US" sz="1200" b="0" i="0" kern="1200" dirty="0">
                <a:solidFill>
                  <a:schemeClr val="tx1"/>
                </a:solidFill>
                <a:effectLst/>
                <a:latin typeface="+mn-lt"/>
                <a:ea typeface="+mn-ea"/>
                <a:cs typeface="+mn-cs"/>
              </a:rPr>
              <a:t> Access to the O365 admin portal can be</a:t>
            </a:r>
            <a:r>
              <a:rPr lang="en-US" sz="1200" b="0" i="0" kern="1200" baseline="0" dirty="0">
                <a:solidFill>
                  <a:schemeClr val="tx1"/>
                </a:solidFill>
                <a:effectLst/>
                <a:latin typeface="+mn-lt"/>
                <a:ea typeface="+mn-ea"/>
                <a:cs typeface="+mn-cs"/>
              </a:rPr>
              <a:t> secured with the Power BI Admin role.</a:t>
            </a:r>
            <a:endParaRPr lang="en-US" sz="1200" kern="1200" dirty="0">
              <a:solidFill>
                <a:schemeClr val="tx1"/>
              </a:solidFill>
              <a:latin typeface="+mn-lt"/>
              <a:ea typeface="Calibri" panose="020F0502020204030204" pitchFamily="34" charset="0"/>
              <a:cs typeface="Times New Roman" panose="02020603050405020304" pitchFamily="18"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latin typeface="+mn-lt"/>
                <a:ea typeface="Calibri" panose="020F0502020204030204" pitchFamily="34" charset="0"/>
                <a:cs typeface="Times New Roman" panose="02020603050405020304" pitchFamily="18" charset="0"/>
              </a:rPr>
              <a:t>Power BI supports Azure AD Conditional Access to provide more control for how users access Power BI. </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latin typeface="+mn-lt"/>
                <a:ea typeface="Calibri" panose="020F0502020204030204" pitchFamily="34" charset="0"/>
                <a:cs typeface="Times New Roman" panose="02020603050405020304" pitchFamily="18" charset="0"/>
              </a:rPr>
              <a:t>Power BI Auditing allows administrators to monitor important user activities. </a:t>
            </a: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6/14/2021</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42522839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a:solidFill>
                  <a:srgbClr val="000000"/>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a:solidFill>
                  <a:srgbClr val="000000"/>
                </a:solidFill>
              </a:rPr>
              <a:t>Power BI connects to a variety of data sources, enabling you to</a:t>
            </a:r>
            <a:r>
              <a:rPr lang="en-US" baseline="0">
                <a:solidFill>
                  <a:srgbClr val="000000"/>
                </a:solidFill>
              </a:rPr>
              <a:t> </a:t>
            </a:r>
            <a:r>
              <a:rPr lang="en-US">
                <a:solidFill>
                  <a:srgbClr val="000000"/>
                </a:solidFill>
              </a:rPr>
              <a:t>view and explore data from hybrid sources in</a:t>
            </a:r>
            <a:r>
              <a:rPr lang="en-US" baseline="0">
                <a:solidFill>
                  <a:srgbClr val="000000"/>
                </a:solidFill>
              </a:rPr>
              <a:t> a single location. </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aseline="0">
              <a:solidFill>
                <a:srgbClr val="000000"/>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b="1" baseline="0">
                <a:solidFill>
                  <a:srgbClr val="000000"/>
                </a:solidFill>
              </a:rPr>
              <a:t>Talking points:</a:t>
            </a: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a:solidFill>
                  <a:srgbClr val="000000"/>
                </a:solidFill>
              </a:rPr>
              <a:t>The Power BI</a:t>
            </a:r>
            <a:r>
              <a:rPr lang="en-US" baseline="0">
                <a:solidFill>
                  <a:srgbClr val="000000"/>
                </a:solidFill>
              </a:rPr>
              <a:t> Get Data feature lets you q</a:t>
            </a:r>
            <a:r>
              <a:rPr lang="en-US">
                <a:solidFill>
                  <a:srgbClr val="000000"/>
                </a:solidFill>
              </a:rPr>
              <a:t>uickly and easily connect to all of your dat</a:t>
            </a:r>
            <a:r>
              <a:rPr lang="en-US"/>
              <a:t>a</a:t>
            </a:r>
            <a:endParaRPr lang="en-US">
              <a:solidFill>
                <a:schemeClr val="bg1"/>
              </a:solidFill>
            </a:endParaRPr>
          </a:p>
          <a:p>
            <a:pPr marL="171450" lvl="1" indent="-171450" defTabSz="932742">
              <a:lnSpc>
                <a:spcPct val="90000"/>
              </a:lnSpc>
              <a:spcAft>
                <a:spcPts val="340"/>
              </a:spcAft>
              <a:buFont typeface="Arial" panose="020B0604020202020204" pitchFamily="34" charset="0"/>
              <a:buChar char="•"/>
              <a:defRPr/>
            </a:pPr>
            <a:r>
              <a:rPr lang="en-US">
                <a:solidFill>
                  <a:srgbClr val="000000"/>
                </a:solidFill>
              </a:rPr>
              <a:t>This includes a</a:t>
            </a:r>
            <a:r>
              <a:rPr lang="en-US" baseline="0">
                <a:solidFill>
                  <a:srgbClr val="000000"/>
                </a:solidFill>
              </a:rPr>
              <a:t> range of both cloud sources, on premises sources and specific data files </a:t>
            </a:r>
            <a:r>
              <a:rPr lang="en-US">
                <a:solidFill>
                  <a:srgbClr val="000000"/>
                </a:solidFill>
              </a:rPr>
              <a:t>—from the SaaS solutions you already use to your organization’s on-premises data</a:t>
            </a:r>
          </a:p>
          <a:p>
            <a:pPr marL="171450" indent="-171450">
              <a:buFont typeface="Arial" panose="020B0604020202020204" pitchFamily="34" charset="0"/>
              <a:buChar char="•"/>
            </a:pPr>
            <a:r>
              <a:rPr lang="en-US"/>
              <a:t>Many</a:t>
            </a:r>
            <a:r>
              <a:rPr lang="en-US" baseline="0"/>
              <a:t> sources have been integrated with Power BI, connecting in minutes with pre-built dashboards and reports </a:t>
            </a:r>
          </a:p>
          <a:p>
            <a:pPr marL="171450" indent="-171450">
              <a:buFont typeface="Arial" panose="020B0604020202020204" pitchFamily="34" charset="0"/>
              <a:buChar char="•"/>
            </a:pPr>
            <a:r>
              <a:rPr lang="en-US" baseline="0"/>
              <a:t>For the first time, you can easily get a consolidated view of your data, no matter where the data actually lives</a:t>
            </a:r>
          </a:p>
          <a:p>
            <a:pPr marL="171450" indent="-171450">
              <a:buFont typeface="Arial" panose="020B0604020202020204" pitchFamily="34" charset="0"/>
              <a:buChar char="•"/>
            </a:pPr>
            <a:r>
              <a:rPr lang="en-US"/>
              <a:t>Data from files</a:t>
            </a:r>
          </a:p>
          <a:p>
            <a:pPr marL="171450" indent="-171450">
              <a:buFont typeface="Arial" panose="020B0604020202020204" pitchFamily="34" charset="0"/>
              <a:buChar char="•"/>
            </a:pPr>
            <a:r>
              <a:rPr lang="en-US" sz="1200" b="0" i="0" kern="1200">
                <a:solidFill>
                  <a:schemeClr val="tx1"/>
                </a:solidFill>
                <a:effectLst/>
                <a:latin typeface="+mn-lt"/>
                <a:ea typeface="+mn-ea"/>
                <a:cs typeface="+mn-cs"/>
              </a:rPr>
              <a:t>Solution templates: you don’t need to start from scratch. Start with a working end-to-end enterprise-ready Power BI solution that incorporates top technical and business practices</a:t>
            </a:r>
            <a:endParaRPr lang="en-US"/>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6/14/2021</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1203272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b="0"/>
              <a:t>With Power</a:t>
            </a:r>
            <a:r>
              <a:rPr lang="en-US" b="0" baseline="0"/>
              <a:t> BI you can create organizational content packs for your organization</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a:p>
          <a:p>
            <a:pPr marL="0" marR="0" lvl="1" indent="0" algn="l" defTabSz="932742" rtl="0" eaLnBrk="1" fontAlgn="auto" latinLnBrk="0" hangingPunct="1">
              <a:lnSpc>
                <a:spcPct val="90000"/>
              </a:lnSpc>
              <a:spcBef>
                <a:spcPts val="0"/>
              </a:spcBef>
              <a:spcAft>
                <a:spcPts val="340"/>
              </a:spcAft>
              <a:buClrTx/>
              <a:buSzTx/>
              <a:buFontTx/>
              <a:buNone/>
              <a:tabLst/>
              <a:defRPr/>
            </a:pPr>
            <a:r>
              <a:rPr lang="en-US" b="1"/>
              <a:t>Talking point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a:gradFill>
                  <a:gsLst>
                    <a:gs pos="0">
                      <a:srgbClr val="FFFFFF"/>
                    </a:gs>
                    <a:gs pos="100000">
                      <a:srgbClr val="FFFFFF"/>
                    </a:gs>
                  </a:gsLst>
                  <a:lin ang="5400000" scaled="0"/>
                </a:gradFill>
                <a:ea typeface="Segoe UI" pitchFamily="34" charset="0"/>
                <a:cs typeface="Segoe UI" pitchFamily="34" charset="0"/>
              </a:rPr>
              <a:t>If you need to make data available across your organization, a custom connector can do just that in an efficient way. For example, your finance team can provide access to financial data to the appropriate users across the organization.  </a:t>
            </a:r>
            <a:endParaRPr lang="en-US">
              <a:gradFill>
                <a:gsLst>
                  <a:gs pos="0">
                    <a:srgbClr val="FFFFFF"/>
                  </a:gs>
                  <a:gs pos="100000">
                    <a:srgbClr val="FFFFFF"/>
                  </a:gs>
                </a:gsLst>
                <a:lin ang="5400000" scaled="0"/>
              </a:gradFill>
              <a:ea typeface="Segoe UI" pitchFamily="34" charset="0"/>
              <a:cs typeface="Segoe UI"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a:gradFill>
                  <a:gsLst>
                    <a:gs pos="0">
                      <a:srgbClr val="FFFFFF"/>
                    </a:gs>
                    <a:gs pos="100000">
                      <a:srgbClr val="FFFFFF"/>
                    </a:gs>
                  </a:gsLst>
                  <a:lin ang="5400000" scaled="0"/>
                </a:gradFill>
                <a:cs typeface="Segoe UI" pitchFamily="34" charset="0"/>
              </a:rPr>
              <a:t>Create</a:t>
            </a:r>
            <a:r>
              <a:rPr lang="en-US" baseline="0">
                <a:gradFill>
                  <a:gsLst>
                    <a:gs pos="0">
                      <a:srgbClr val="FFFFFF"/>
                    </a:gs>
                    <a:gs pos="100000">
                      <a:srgbClr val="FFFFFF"/>
                    </a:gs>
                  </a:gsLst>
                  <a:lin ang="5400000" scaled="0"/>
                </a:gradFill>
                <a:cs typeface="Segoe UI" pitchFamily="34" charset="0"/>
              </a:rPr>
              <a:t> c</a:t>
            </a:r>
            <a:r>
              <a:rPr lang="en-US">
                <a:gradFill>
                  <a:gsLst>
                    <a:gs pos="0">
                      <a:srgbClr val="FFFFFF"/>
                    </a:gs>
                    <a:gs pos="100000">
                      <a:srgbClr val="FFFFFF"/>
                    </a:gs>
                  </a:gsLst>
                  <a:lin ang="5400000" scaled="0"/>
                </a:gradFill>
                <a:cs typeface="Segoe UI" pitchFamily="34" charset="0"/>
              </a:rPr>
              <a:t>ontent packs which make it easier and faster for users to explore</a:t>
            </a:r>
            <a:r>
              <a:rPr lang="en-US" baseline="0">
                <a:gradFill>
                  <a:gsLst>
                    <a:gs pos="0">
                      <a:srgbClr val="FFFFFF"/>
                    </a:gs>
                    <a:gs pos="100000">
                      <a:srgbClr val="FFFFFF"/>
                    </a:gs>
                  </a:gsLst>
                  <a:lin ang="5400000" scaled="0"/>
                </a:gradFill>
                <a:cs typeface="Segoe UI" pitchFamily="34" charset="0"/>
              </a:rPr>
              <a:t> the data you’re providing – they get dashboards and reports that they can use immediately to drive insights</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0"/>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6/14/2021</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33035017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b="0"/>
              <a:t>Power BI comes with content packs for the</a:t>
            </a:r>
            <a:r>
              <a:rPr lang="en-US" b="0" baseline="0"/>
              <a:t> SaaS solutions that you already use</a:t>
            </a:r>
            <a:endParaRPr lang="en-US" b="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a:p>
          <a:p>
            <a:pPr marL="0" marR="0" lvl="1" indent="0" algn="l" defTabSz="932742" rtl="0" eaLnBrk="1" fontAlgn="auto" latinLnBrk="0" hangingPunct="1">
              <a:lnSpc>
                <a:spcPct val="90000"/>
              </a:lnSpc>
              <a:spcBef>
                <a:spcPts val="0"/>
              </a:spcBef>
              <a:spcAft>
                <a:spcPts val="340"/>
              </a:spcAft>
              <a:buClrTx/>
              <a:buSzTx/>
              <a:buFontTx/>
              <a:buNone/>
              <a:tabLst/>
              <a:defRPr/>
            </a:pPr>
            <a:r>
              <a:rPr lang="en-US" b="1"/>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a:gradFill>
                  <a:gsLst>
                    <a:gs pos="0">
                      <a:srgbClr val="FFFFFF"/>
                    </a:gs>
                    <a:gs pos="100000">
                      <a:srgbClr val="FFFFFF"/>
                    </a:gs>
                  </a:gsLst>
                  <a:lin ang="5400000" scaled="0"/>
                </a:gradFill>
                <a:ea typeface="Segoe UI" pitchFamily="34" charset="0"/>
                <a:cs typeface="Segoe UI" pitchFamily="34" charset="0"/>
              </a:rPr>
              <a:t>It’s easy to discover business insights</a:t>
            </a:r>
            <a:r>
              <a:rPr lang="en-US" baseline="0">
                <a:gradFill>
                  <a:gsLst>
                    <a:gs pos="0">
                      <a:srgbClr val="FFFFFF"/>
                    </a:gs>
                    <a:gs pos="100000">
                      <a:srgbClr val="FFFFFF"/>
                    </a:gs>
                  </a:gsLst>
                  <a:lin ang="5400000" scaled="0"/>
                </a:gradFill>
                <a:ea typeface="Segoe UI" pitchFamily="34" charset="0"/>
                <a:cs typeface="Segoe UI" pitchFamily="34" charset="0"/>
              </a:rPr>
              <a:t> quickly by connecting all of the SaaS data sources you already use to Power BI </a:t>
            </a:r>
            <a:endParaRPr lang="en-US">
              <a:gradFill>
                <a:gsLst>
                  <a:gs pos="0">
                    <a:srgbClr val="FFFFFF"/>
                  </a:gs>
                  <a:gs pos="100000">
                    <a:srgbClr val="FFFFFF"/>
                  </a:gs>
                </a:gsLst>
                <a:lin ang="5400000" scaled="0"/>
              </a:gra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a:gradFill>
                  <a:gsLst>
                    <a:gs pos="0">
                      <a:srgbClr val="FFFFFF"/>
                    </a:gs>
                    <a:gs pos="100000">
                      <a:srgbClr val="FFFFFF"/>
                    </a:gs>
                  </a:gsLst>
                  <a:lin ang="5400000" scaled="0"/>
                </a:gradFill>
                <a:ea typeface="Segoe UI" pitchFamily="34" charset="0"/>
                <a:cs typeface="Segoe UI" pitchFamily="34" charset="0"/>
              </a:rPr>
              <a:t>Power BI has “connector” functionality that establishes a direct connection to a variety of popular SaaS solution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a:gradFill>
                  <a:gsLst>
                    <a:gs pos="0">
                      <a:srgbClr val="FFFFFF"/>
                    </a:gs>
                    <a:gs pos="100000">
                      <a:srgbClr val="FFFFFF"/>
                    </a:gs>
                  </a:gsLst>
                  <a:lin ang="5400000" scaled="0"/>
                </a:gradFill>
                <a:ea typeface="Segoe UI" pitchFamily="34" charset="0"/>
                <a:cs typeface="Segoe UI" pitchFamily="34" charset="0"/>
              </a:rPr>
              <a:t>It’s more than just a connection though – Power BI has a “content pack” for each SaaS solution </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a:gradFill>
                  <a:gsLst>
                    <a:gs pos="0">
                      <a:srgbClr val="FFFFFF"/>
                    </a:gs>
                    <a:gs pos="100000">
                      <a:srgbClr val="FFFFFF"/>
                    </a:gs>
                  </a:gsLst>
                  <a:lin ang="5400000" scaled="0"/>
                </a:gradFill>
                <a:ea typeface="Segoe UI" pitchFamily="34" charset="0"/>
                <a:cs typeface="Segoe UI" pitchFamily="34" charset="0"/>
              </a:rPr>
              <a:t>These “content packs” consist of </a:t>
            </a:r>
            <a:r>
              <a:rPr lang="en-US" sz="900">
                <a:gradFill>
                  <a:gsLst>
                    <a:gs pos="1250">
                      <a:schemeClr val="tx2"/>
                    </a:gs>
                    <a:gs pos="99000">
                      <a:schemeClr val="tx2"/>
                    </a:gs>
                  </a:gsLst>
                  <a:lin ang="5400000" scaled="0"/>
                </a:gradFill>
              </a:rPr>
              <a:t>pre-configured dashboards, reports, data models, embedded queries and metadata</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a:gradFill>
                  <a:gsLst>
                    <a:gs pos="1250">
                      <a:schemeClr val="tx2"/>
                    </a:gs>
                    <a:gs pos="99000">
                      <a:schemeClr val="tx2"/>
                    </a:gs>
                  </a:gsLst>
                  <a:lin ang="5400000" scaled="0"/>
                </a:gradFill>
                <a:ea typeface="Segoe UI" pitchFamily="34" charset="0"/>
                <a:cs typeface="Segoe UI" pitchFamily="34" charset="0"/>
              </a:rPr>
              <a:t>That means users don’t have to set anything up from scratch – you connect your data and instantly have a beautiful dashboard ready for you to customize to your needs</a:t>
            </a:r>
            <a:endParaRPr lang="en-US" sz="900" baseline="0">
              <a:gradFill>
                <a:gsLst>
                  <a:gs pos="0">
                    <a:srgbClr val="FFFFFF"/>
                  </a:gs>
                  <a:gs pos="100000">
                    <a:srgbClr val="FFFFFF"/>
                  </a:gs>
                </a:gsLst>
                <a:lin ang="5400000" scaled="0"/>
              </a:gra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a:gradFill>
                  <a:gsLst>
                    <a:gs pos="0">
                      <a:srgbClr val="FFFFFF"/>
                    </a:gs>
                    <a:gs pos="100000">
                      <a:srgbClr val="FFFFFF"/>
                    </a:gs>
                  </a:gsLst>
                  <a:lin ang="5400000" scaled="0"/>
                </a:gradFill>
                <a:ea typeface="Segoe UI" pitchFamily="34" charset="0"/>
                <a:cs typeface="Segoe UI" pitchFamily="34" charset="0"/>
              </a:rPr>
              <a:t>Thanks to the direct</a:t>
            </a:r>
            <a:r>
              <a:rPr lang="en-US" baseline="0">
                <a:gradFill>
                  <a:gsLst>
                    <a:gs pos="0">
                      <a:srgbClr val="FFFFFF"/>
                    </a:gs>
                    <a:gs pos="100000">
                      <a:srgbClr val="FFFFFF"/>
                    </a:gs>
                  </a:gsLst>
                  <a:lin ang="5400000" scaled="0"/>
                </a:gradFill>
                <a:ea typeface="Segoe UI" pitchFamily="34" charset="0"/>
                <a:cs typeface="Segoe UI" pitchFamily="34" charset="0"/>
              </a:rPr>
              <a:t> connection from Power BI, data processing is optimized, so you can explore at a rapid pace</a:t>
            </a:r>
            <a:endParaRPr lang="en-US">
              <a:gradFill>
                <a:gsLst>
                  <a:gs pos="0">
                    <a:srgbClr val="FFFFFF"/>
                  </a:gs>
                  <a:gs pos="100000">
                    <a:srgbClr val="FFFFFF"/>
                  </a:gs>
                </a:gsLst>
                <a:lin ang="5400000" scaled="0"/>
              </a:gra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a:gradFill>
                  <a:gsLst>
                    <a:gs pos="0">
                      <a:srgbClr val="FFFFFF"/>
                    </a:gs>
                    <a:gs pos="100000">
                      <a:srgbClr val="FFFFFF"/>
                    </a:gs>
                  </a:gsLst>
                  <a:lin ang="5400000" scaled="0"/>
                </a:gradFill>
                <a:ea typeface="Segoe UI" pitchFamily="34" charset="0"/>
                <a:cs typeface="Segoe UI" pitchFamily="34" charset="0"/>
              </a:rPr>
              <a:t>And data is updated automatically</a:t>
            </a:r>
            <a:r>
              <a:rPr lang="en-US" baseline="0">
                <a:gradFill>
                  <a:gsLst>
                    <a:gs pos="0">
                      <a:srgbClr val="FFFFFF"/>
                    </a:gs>
                    <a:gs pos="100000">
                      <a:srgbClr val="FFFFFF"/>
                    </a:gs>
                  </a:gsLst>
                  <a:lin ang="5400000" scaled="0"/>
                </a:gradFill>
                <a:ea typeface="Segoe UI" pitchFamily="34" charset="0"/>
                <a:cs typeface="Segoe UI" pitchFamily="34" charset="0"/>
              </a:rPr>
              <a:t> each day (or on-demand if you need it) – no need for special refresh configuration</a:t>
            </a:r>
            <a:endParaRPr lang="en-US" sz="900">
              <a:gradFill>
                <a:gsLst>
                  <a:gs pos="0">
                    <a:srgbClr val="FFFFFF"/>
                  </a:gs>
                  <a:gs pos="100000">
                    <a:srgbClr val="FFFFFF"/>
                  </a:gs>
                </a:gsLst>
                <a:lin ang="5400000" scaled="0"/>
              </a:gradFill>
              <a:ea typeface="Segoe UI" pitchFamily="34" charset="0"/>
              <a:cs typeface="Segoe UI" pitchFamily="34"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6/14/2021</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19732681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b="0"/>
              <a:t>Power BI works directly and</a:t>
            </a:r>
            <a:r>
              <a:rPr lang="en-US" b="0" baseline="0"/>
              <a:t> seamlessly with other Azure Data Services</a:t>
            </a:r>
            <a:endParaRPr lang="en-US" b="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a:p>
          <a:p>
            <a:pPr marL="0" marR="0" lvl="1" indent="0" algn="l" defTabSz="932742" rtl="0" eaLnBrk="1" fontAlgn="auto" latinLnBrk="0" hangingPunct="1">
              <a:lnSpc>
                <a:spcPct val="90000"/>
              </a:lnSpc>
              <a:spcBef>
                <a:spcPts val="0"/>
              </a:spcBef>
              <a:spcAft>
                <a:spcPts val="340"/>
              </a:spcAft>
              <a:buClrTx/>
              <a:buSzTx/>
              <a:buFontTx/>
              <a:buNone/>
              <a:tabLst/>
              <a:defRPr/>
            </a:pPr>
            <a:r>
              <a:rPr lang="en-US" b="1"/>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a:solidFill>
                  <a:srgbClr val="000000"/>
                </a:solidFill>
                <a:ea typeface="Segoe UI" pitchFamily="34" charset="0"/>
                <a:cs typeface="Segoe UI" pitchFamily="34" charset="0"/>
              </a:rPr>
              <a:t>For example, Power BI</a:t>
            </a:r>
            <a:r>
              <a:rPr lang="en-US" baseline="0">
                <a:solidFill>
                  <a:srgbClr val="000000"/>
                </a:solidFill>
                <a:ea typeface="Segoe UI" pitchFamily="34" charset="0"/>
                <a:cs typeface="Segoe UI" pitchFamily="34" charset="0"/>
              </a:rPr>
              <a:t> integrates with SQL Database and SQL Data Warehouse, making it easier to query large data sets in real-time</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a:solidFill>
                  <a:srgbClr val="000000"/>
                </a:solidFill>
                <a:ea typeface="Segoe UI" pitchFamily="34" charset="0"/>
                <a:cs typeface="Segoe UI" pitchFamily="34" charset="0"/>
              </a:rPr>
              <a:t>Power BI also directly integrates with Azure Stream Analytics -  real-time data from Stream Analytics can be pushed directly into Power BI for real-time visibility via dashboard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a:solidFill>
                  <a:srgbClr val="000000"/>
                </a:solidFill>
                <a:ea typeface="Segoe UI" pitchFamily="34" charset="0"/>
                <a:cs typeface="Segoe UI" pitchFamily="34" charset="0"/>
              </a:rPr>
              <a:t>For example, if you have </a:t>
            </a:r>
            <a:r>
              <a:rPr lang="en-US" baseline="0" err="1">
                <a:solidFill>
                  <a:srgbClr val="000000"/>
                </a:solidFill>
                <a:ea typeface="Segoe UI" pitchFamily="34" charset="0"/>
                <a:cs typeface="Segoe UI" pitchFamily="34" charset="0"/>
              </a:rPr>
              <a:t>IoT</a:t>
            </a:r>
            <a:r>
              <a:rPr lang="en-US" baseline="0">
                <a:solidFill>
                  <a:srgbClr val="000000"/>
                </a:solidFill>
                <a:ea typeface="Segoe UI" pitchFamily="34" charset="0"/>
                <a:cs typeface="Segoe UI" pitchFamily="34" charset="0"/>
              </a:rPr>
              <a:t> devices like sensors and factory-floor machines connected to Stream Analytics, that data can be surfaced live to Power BI dashboards, so operations managers can get real-time information on the status of plant operations</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6/14/2021</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18744794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effectLst/>
                <a:latin typeface="+mn-lt"/>
                <a:ea typeface="Calibri" panose="020F0502020204030204" pitchFamily="34" charset="0"/>
                <a:cs typeface="Times New Roman" panose="02020603050405020304" pitchFamily="18" charset="0"/>
              </a:rPr>
              <a:t>Connect live to your existing on-premises data, such as </a:t>
            </a:r>
            <a:r>
              <a:rPr lang="en-US" sz="1200" kern="1200" dirty="0">
                <a:solidFill>
                  <a:schemeClr val="tx1"/>
                </a:solidFill>
                <a:latin typeface="+mn-lt"/>
                <a:ea typeface="Calibri" panose="020F0502020204030204" pitchFamily="34" charset="0"/>
                <a:cs typeface="Times New Roman" panose="02020603050405020304" pitchFamily="18" charset="0"/>
              </a:rPr>
              <a:t>SQL Server Analysis Services. No need to move your data to the cloud</a:t>
            </a:r>
            <a:endParaRPr lang="en-US" sz="1200" kern="1200" dirty="0">
              <a:solidFill>
                <a:schemeClr val="tx1"/>
              </a:solidFill>
              <a:effectLst/>
              <a:latin typeface="+mn-lt"/>
              <a:ea typeface="Calibri" panose="020F0502020204030204" pitchFamily="34" charset="0"/>
              <a:cs typeface="Times New Roman" panose="02020603050405020304" pitchFamily="18"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Power BI lets you establish live connectivity with on-premises SQL Server Analysis Services tabular and</a:t>
            </a:r>
            <a:r>
              <a:rPr lang="en-US" baseline="0" dirty="0">
                <a:solidFill>
                  <a:srgbClr val="000000"/>
                </a:solidFill>
                <a:ea typeface="Segoe UI" pitchFamily="34" charset="0"/>
                <a:cs typeface="Segoe UI" pitchFamily="34" charset="0"/>
              </a:rPr>
              <a:t> multi-dimensional </a:t>
            </a:r>
            <a:r>
              <a:rPr lang="en-US" dirty="0">
                <a:solidFill>
                  <a:srgbClr val="000000"/>
                </a:solidFill>
                <a:ea typeface="Segoe UI" pitchFamily="34" charset="0"/>
                <a:cs typeface="Segoe UI" pitchFamily="34" charset="0"/>
              </a:rPr>
              <a:t>model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Use On-Premises Data Gateway to configure the connection</a:t>
            </a:r>
            <a:r>
              <a:rPr lang="en-US" baseline="0" dirty="0">
                <a:solidFill>
                  <a:srgbClr val="000000"/>
                </a:solidFill>
                <a:ea typeface="Segoe UI" pitchFamily="34" charset="0"/>
                <a:cs typeface="Segoe UI" pitchFamily="34" charset="0"/>
              </a:rPr>
              <a:t> with</a:t>
            </a:r>
            <a:r>
              <a:rPr lang="en-US" dirty="0">
                <a:solidFill>
                  <a:srgbClr val="000000"/>
                </a:solidFill>
                <a:ea typeface="Segoe UI" pitchFamily="34" charset="0"/>
                <a:cs typeface="Segoe UI" pitchFamily="34" charset="0"/>
              </a:rPr>
              <a:t> your existing SSAS</a:t>
            </a:r>
            <a:r>
              <a:rPr lang="en-US" baseline="0" dirty="0">
                <a:solidFill>
                  <a:srgbClr val="000000"/>
                </a:solidFill>
                <a:ea typeface="Segoe UI" pitchFamily="34" charset="0"/>
                <a:cs typeface="Segoe UI" pitchFamily="34" charset="0"/>
              </a:rPr>
              <a:t> solution (replaces the Analysis Services Connector).</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The connection is live</a:t>
            </a:r>
            <a:r>
              <a:rPr lang="en-US" baseline="0" dirty="0">
                <a:solidFill>
                  <a:srgbClr val="000000"/>
                </a:solidFill>
                <a:ea typeface="Segoe UI" pitchFamily="34" charset="0"/>
                <a:cs typeface="Segoe UI" pitchFamily="34" charset="0"/>
              </a:rPr>
              <a:t> – meaning that </a:t>
            </a:r>
            <a:r>
              <a:rPr lang="en-US" dirty="0">
                <a:solidFill>
                  <a:srgbClr val="000000"/>
                </a:solidFill>
                <a:ea typeface="Segoe UI" pitchFamily="34" charset="0"/>
                <a:cs typeface="Segoe UI" pitchFamily="34" charset="0"/>
              </a:rPr>
              <a:t>when users view and explore dashboards, Power BI interactively queries the on-premises cube to fetch the data</a:t>
            </a:r>
            <a:r>
              <a:rPr lang="en-US" baseline="0" dirty="0">
                <a:solidFill>
                  <a:srgbClr val="000000"/>
                </a:solidFill>
                <a:ea typeface="Segoe UI" pitchFamily="34" charset="0"/>
                <a:cs typeface="Segoe UI" pitchFamily="34" charset="0"/>
              </a:rPr>
              <a:t> right then</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0000"/>
                </a:solidFill>
                <a:ea typeface="Segoe UI" pitchFamily="34" charset="0"/>
                <a:cs typeface="Segoe UI" pitchFamily="34" charset="0"/>
              </a:rPr>
              <a:t>This enables </a:t>
            </a:r>
            <a:r>
              <a:rPr lang="en-US" dirty="0">
                <a:solidFill>
                  <a:srgbClr val="000000"/>
                </a:solidFill>
              </a:rPr>
              <a:t>efficient data exploration thanks to</a:t>
            </a:r>
            <a:r>
              <a:rPr lang="en-US" baseline="0" dirty="0">
                <a:solidFill>
                  <a:srgbClr val="000000"/>
                </a:solidFill>
              </a:rPr>
              <a:t> </a:t>
            </a:r>
            <a:r>
              <a:rPr lang="en-US" dirty="0">
                <a:solidFill>
                  <a:srgbClr val="000000"/>
                </a:solidFill>
              </a:rPr>
              <a:t>optimized query performance</a:t>
            </a:r>
            <a:endParaRPr lang="en-US" dirty="0">
              <a:solidFill>
                <a:srgbClr val="000000"/>
              </a:solidFill>
              <a:ea typeface="Segoe UI" pitchFamily="34" charset="0"/>
              <a:cs typeface="Segoe UI" pitchFamily="34" charset="0"/>
            </a:endParaRP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You</a:t>
            </a:r>
            <a:r>
              <a:rPr lang="en-US" baseline="0" dirty="0">
                <a:solidFill>
                  <a:srgbClr val="000000"/>
                </a:solidFill>
                <a:ea typeface="Segoe UI" pitchFamily="34" charset="0"/>
                <a:cs typeface="Segoe UI" pitchFamily="34" charset="0"/>
              </a:rPr>
              <a:t> can </a:t>
            </a:r>
            <a:r>
              <a:rPr lang="en-US" baseline="0" dirty="0">
                <a:solidFill>
                  <a:srgbClr val="000000"/>
                </a:solidFill>
              </a:rPr>
              <a:t>c</a:t>
            </a:r>
            <a:r>
              <a:rPr lang="en-US" dirty="0">
                <a:solidFill>
                  <a:srgbClr val="000000"/>
                </a:solidFill>
              </a:rPr>
              <a:t>reate reports with SSAS data on powerbi.com,</a:t>
            </a:r>
            <a:r>
              <a:rPr lang="en-US" baseline="0" dirty="0">
                <a:solidFill>
                  <a:srgbClr val="000000"/>
                </a:solidFill>
              </a:rPr>
              <a:t> even </a:t>
            </a:r>
            <a:r>
              <a:rPr lang="en-US" dirty="0">
                <a:solidFill>
                  <a:srgbClr val="000000"/>
                </a:solidFill>
              </a:rPr>
              <a:t>while data remains on-premise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solidFill>
                  <a:srgbClr val="000000"/>
                </a:solidFill>
                <a:ea typeface="Segoe UI" pitchFamily="34" charset="0"/>
                <a:cs typeface="Segoe UI" pitchFamily="34" charset="0"/>
              </a:rPr>
              <a:t>Your existing, role-based SSAS permissions still apply – user access to SSAS data via Power BI is controlled the same way</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The connection to SSAS is secured via</a:t>
            </a:r>
            <a:r>
              <a:rPr lang="en-US" baseline="0" dirty="0">
                <a:gradFill>
                  <a:gsLst>
                    <a:gs pos="0">
                      <a:srgbClr val="FFFFFF"/>
                    </a:gs>
                    <a:gs pos="100000">
                      <a:srgbClr val="FFFFFF"/>
                    </a:gs>
                  </a:gsLst>
                  <a:lin ang="5400000" scaled="0"/>
                </a:gradFill>
                <a:ea typeface="Segoe UI" pitchFamily="34" charset="0"/>
                <a:cs typeface="Segoe UI" pitchFamily="34" charset="0"/>
              </a:rPr>
              <a:t> </a:t>
            </a:r>
            <a:r>
              <a:rPr lang="en-US" dirty="0">
                <a:gradFill>
                  <a:gsLst>
                    <a:gs pos="0">
                      <a:srgbClr val="FFFFFF"/>
                    </a:gs>
                    <a:gs pos="100000">
                      <a:srgbClr val="FFFFFF"/>
                    </a:gs>
                  </a:gsLst>
                  <a:lin ang="5400000" scaled="0"/>
                </a:gradFill>
                <a:ea typeface="Segoe UI" pitchFamily="34" charset="0"/>
                <a:cs typeface="Segoe UI" pitchFamily="34" charset="0"/>
              </a:rPr>
              <a:t>Azure Service Bus SSL encryption</a:t>
            </a:r>
            <a:endParaRPr lang="en-US" b="1" dirty="0"/>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6/14/2021</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35637846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a:solidFill>
                  <a:schemeClr val="tx1"/>
                </a:solidFill>
                <a:effectLst/>
                <a:latin typeface="+mn-lt"/>
                <a:ea typeface="+mn-ea"/>
                <a:cs typeface="+mn-cs"/>
              </a:rPr>
              <a:t>You can upload Excel, CSV and Power BI Desktop files from your computer, or connect to them on OneDrive for Business, OneDrive Personal or SharePoint</a:t>
            </a:r>
            <a:r>
              <a:rPr lang="en-US" sz="1200" kern="1200" baseline="0">
                <a:solidFill>
                  <a:schemeClr val="tx1"/>
                </a:solidFill>
                <a:effectLst/>
                <a:latin typeface="+mn-lt"/>
                <a:ea typeface="+mn-ea"/>
                <a:cs typeface="+mn-cs"/>
              </a:rPr>
              <a:t> Team Sites</a:t>
            </a:r>
            <a:endParaRPr lang="en-US" b="1"/>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a:p>
          <a:p>
            <a:pPr marL="0" marR="0" lvl="1" indent="0" algn="l" defTabSz="932742" rtl="0" eaLnBrk="1" fontAlgn="auto" latinLnBrk="0" hangingPunct="1">
              <a:lnSpc>
                <a:spcPct val="90000"/>
              </a:lnSpc>
              <a:spcBef>
                <a:spcPts val="0"/>
              </a:spcBef>
              <a:spcAft>
                <a:spcPts val="340"/>
              </a:spcAft>
              <a:buClrTx/>
              <a:buSzTx/>
              <a:buFontTx/>
              <a:buNone/>
              <a:tabLst/>
              <a:defRPr/>
            </a:pPr>
            <a:r>
              <a:rPr lang="en-US" b="1"/>
              <a:t>Talking points:</a:t>
            </a:r>
          </a:p>
          <a:p>
            <a:r>
              <a:rPr lang="en-US" sz="1200" b="0" i="0" kern="1200">
                <a:solidFill>
                  <a:schemeClr val="tx1"/>
                </a:solidFill>
                <a:effectLst/>
                <a:latin typeface="+mn-lt"/>
                <a:ea typeface="+mn-ea"/>
                <a:cs typeface="+mn-cs"/>
              </a:rPr>
              <a:t>Where your file is saved makes a difference</a:t>
            </a:r>
          </a:p>
          <a:p>
            <a:r>
              <a:rPr lang="en-US" sz="1200" b="1" i="0" kern="1200">
                <a:solidFill>
                  <a:schemeClr val="tx1"/>
                </a:solidFill>
                <a:effectLst/>
                <a:latin typeface="+mn-lt"/>
                <a:ea typeface="+mn-ea"/>
                <a:cs typeface="+mn-cs"/>
              </a:rPr>
              <a:t>Local</a:t>
            </a:r>
            <a:r>
              <a:rPr lang="en-US" sz="1200" b="0" i="0" kern="1200">
                <a:solidFill>
                  <a:schemeClr val="tx1"/>
                </a:solidFill>
                <a:effectLst/>
                <a:latin typeface="+mn-lt"/>
                <a:ea typeface="+mn-ea"/>
                <a:cs typeface="+mn-cs"/>
              </a:rPr>
              <a:t> - If you save your file to a local drive on your computer or another location in your organization, from Power BI, you can </a:t>
            </a:r>
            <a:r>
              <a:rPr lang="en-US" sz="1200" b="0" i="1" kern="1200">
                <a:solidFill>
                  <a:schemeClr val="tx1"/>
                </a:solidFill>
                <a:effectLst/>
                <a:latin typeface="+mn-lt"/>
                <a:ea typeface="+mn-ea"/>
                <a:cs typeface="+mn-cs"/>
              </a:rPr>
              <a:t>import</a:t>
            </a:r>
            <a:r>
              <a:rPr lang="en-US" sz="1200" b="0" i="0" kern="1200">
                <a:solidFill>
                  <a:schemeClr val="tx1"/>
                </a:solidFill>
                <a:effectLst/>
                <a:latin typeface="+mn-lt"/>
                <a:ea typeface="+mn-ea"/>
                <a:cs typeface="+mn-cs"/>
              </a:rPr>
              <a:t> your file into Power BI. Your file will actually remain on your local drive, so the whole file isn’t really imported into Power BI. What really happens is a new dataset is created in your Power BI site and data, and in some cases the data model, are loaded into the dataset. If your file has any reports, those will appear in your Power BI site under Reports.</a:t>
            </a:r>
          </a:p>
          <a:p>
            <a:r>
              <a:rPr lang="en-US" sz="1200" b="1" i="0" kern="1200">
                <a:solidFill>
                  <a:schemeClr val="tx1"/>
                </a:solidFill>
                <a:effectLst/>
                <a:latin typeface="+mn-lt"/>
                <a:ea typeface="+mn-ea"/>
                <a:cs typeface="+mn-cs"/>
              </a:rPr>
              <a:t>OneDrive - Business</a:t>
            </a:r>
            <a:r>
              <a:rPr lang="en-US" sz="1200" b="0" i="0" kern="1200">
                <a:solidFill>
                  <a:schemeClr val="tx1"/>
                </a:solidFill>
                <a:effectLst/>
                <a:latin typeface="+mn-lt"/>
                <a:ea typeface="+mn-ea"/>
                <a:cs typeface="+mn-cs"/>
              </a:rPr>
              <a:t> – If you have OneDrive for Business and you sign into it with the same account you sign into Power BI with, this is by-far the most effective way to keep your work in Excel Power BI Desktop, or a .CSV file and your dataset, reports, and dashboards in Power BI in-sync. Because both Power BI and OneDrive are in the cloud, Power BI connects to your file on OneDrive about every hour. If any changes are found, your dataset, reports, and dashboards are automatically updated in Power BI.</a:t>
            </a:r>
          </a:p>
          <a:p>
            <a:r>
              <a:rPr lang="en-US" sz="1200" b="1" i="0" kern="1200">
                <a:solidFill>
                  <a:schemeClr val="tx1"/>
                </a:solidFill>
                <a:effectLst/>
                <a:latin typeface="+mn-lt"/>
                <a:ea typeface="+mn-ea"/>
                <a:cs typeface="+mn-cs"/>
              </a:rPr>
              <a:t>OneDrive - Personal</a:t>
            </a:r>
            <a:r>
              <a:rPr lang="en-US" sz="1200" b="0" i="0" kern="1200">
                <a:solidFill>
                  <a:schemeClr val="tx1"/>
                </a:solidFill>
                <a:effectLst/>
                <a:latin typeface="+mn-lt"/>
                <a:ea typeface="+mn-ea"/>
                <a:cs typeface="+mn-cs"/>
              </a:rPr>
              <a:t> – If you save your files to your own OneDrive account, you’ll get many of the same benefits as you would with OneDrive for Business. The biggest difference is when you first connect to your file (using Get Data &gt; Files &gt; OneDrive – Personal) you’ll need to sign in to your OneDrive with your Microsoft account, which is usually different from what you use to sign in to Power BI. When signing in with your OneDrive with your Microsoft account, be sure to select the Keep me signed in option. This way, Power BI will be able to connect to your file about every hour and make sure your dataset in Power BI is in-sync.</a:t>
            </a:r>
          </a:p>
          <a:p>
            <a:r>
              <a:rPr lang="en-US" sz="1200" b="1" i="0" kern="1200">
                <a:solidFill>
                  <a:schemeClr val="tx1"/>
                </a:solidFill>
                <a:effectLst/>
                <a:latin typeface="+mn-lt"/>
                <a:ea typeface="+mn-ea"/>
                <a:cs typeface="+mn-cs"/>
              </a:rPr>
              <a:t>SharePoint Team-Sites</a:t>
            </a:r>
            <a:r>
              <a:rPr lang="en-US" sz="1200" b="0" i="0" kern="1200">
                <a:solidFill>
                  <a:schemeClr val="tx1"/>
                </a:solidFill>
                <a:effectLst/>
                <a:latin typeface="+mn-lt"/>
                <a:ea typeface="+mn-ea"/>
                <a:cs typeface="+mn-cs"/>
              </a:rPr>
              <a:t> – Saving your Power BI Desktop files to SharePoint – Team Sites is much the same as saving to OneDrive for Business. The biggest difference is how you connect to the file from Power BI. You can specify a URL or connect to the root folder.</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n-lt"/>
                <a:ea typeface="Calibri" panose="020F0502020204030204" pitchFamily="34" charset="0"/>
                <a:cs typeface="Times New Roman" panose="02020603050405020304" pitchFamily="18" charset="0"/>
              </a:rPr>
              <a:t>Get data and reports from Power BI Desktop files.</a:t>
            </a:r>
          </a:p>
          <a:p>
            <a:endParaRPr lang="en-US" sz="1200" b="0" i="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6/14/2021</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39279739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b="0"/>
              <a:t>You can</a:t>
            </a:r>
            <a:r>
              <a:rPr lang="en-US" b="0" baseline="0"/>
              <a:t> k</a:t>
            </a:r>
            <a:r>
              <a:rPr lang="en-US" b="0"/>
              <a:t>eep your data where it is</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a:p>
          <a:p>
            <a:pPr marL="0" marR="0" lvl="1" indent="0" algn="l" defTabSz="932742" rtl="0" eaLnBrk="1" fontAlgn="auto" latinLnBrk="0" hangingPunct="1">
              <a:lnSpc>
                <a:spcPct val="90000"/>
              </a:lnSpc>
              <a:spcBef>
                <a:spcPts val="0"/>
              </a:spcBef>
              <a:spcAft>
                <a:spcPts val="340"/>
              </a:spcAft>
              <a:buClrTx/>
              <a:buSzTx/>
              <a:buFontTx/>
              <a:buNone/>
              <a:tabLst/>
              <a:defRPr/>
            </a:pPr>
            <a:r>
              <a:rPr lang="en-US" b="1"/>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kern="1200">
                <a:solidFill>
                  <a:schemeClr val="tx1"/>
                </a:solidFill>
                <a:effectLst/>
                <a:latin typeface="+mn-lt"/>
                <a:ea typeface="+mn-ea"/>
                <a:cs typeface="+mn-cs"/>
              </a:rPr>
              <a:t>﻿﻿﻿﻿﻿﻿Power BI connects to data sources on your behalf. The connections require valid accounts that meet the requirements of the specific data source.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kern="1200">
                <a:solidFill>
                  <a:schemeClr val="tx1"/>
                </a:solidFill>
                <a:effectLst/>
                <a:latin typeface="+mn-lt"/>
                <a:ea typeface="+mn-ea"/>
                <a:cs typeface="+mn-cs"/>
              </a:rPr>
              <a:t>In order for Power BI to refresh your dataset, you will need to provide credentials for that particular data source. The type of credentials required depend on the data source your dataset is connecting to. You will be required to enter credentials the first time you use Schedule Refresh or Refresh Now. Once entered, those credentials will be retained as part of refresh settings for that dataset. If you get data from another workbook that uses the same data source in a dataset you've already configured authentication credentials for, you won't need to configure credentials again for your new dataset</a:t>
            </a:r>
            <a:r>
              <a:rPr lang="en-US" sz="1200" b="1" kern="1200">
                <a:solidFill>
                  <a:schemeClr val="tx1"/>
                </a:solidFill>
                <a:effectLst/>
                <a:latin typeface="+mn-lt"/>
                <a:ea typeface="+mn-ea"/>
                <a:cs typeface="+mn-cs"/>
              </a:rPr>
              <a:t>﻿</a:t>
            </a:r>
            <a:r>
              <a:rPr lang="en-US" sz="1200" kern="1200">
                <a:solidFill>
                  <a:schemeClr val="tx1"/>
                </a:solidFill>
                <a:effectLst/>
                <a:latin typeface="+mn-lt"/>
                <a:ea typeface="+mn-ea"/>
                <a:cs typeface="+mn-cs"/>
              </a:rPr>
              <a:t>﻿.</a:t>
            </a:r>
            <a:br>
              <a:rPr lang="en-US">
                <a:gradFill>
                  <a:gsLst>
                    <a:gs pos="0">
                      <a:srgbClr val="FFFFFF"/>
                    </a:gs>
                    <a:gs pos="100000">
                      <a:srgbClr val="FFFFFF"/>
                    </a:gs>
                  </a:gsLst>
                  <a:lin ang="5400000" scaled="0"/>
                </a:gradFill>
                <a:ea typeface="Segoe UI" pitchFamily="34" charset="0"/>
                <a:cs typeface="Segoe UI" pitchFamily="34" charset="0"/>
              </a:rPr>
            </a:br>
            <a:endParaRPr lang="en-US" sz="900" baseline="0">
              <a:gradFill>
                <a:gsLst>
                  <a:gs pos="0">
                    <a:srgbClr val="FFFFFF"/>
                  </a:gs>
                  <a:gs pos="100000">
                    <a:srgbClr val="FFFFFF"/>
                  </a:gs>
                </a:gsLst>
                <a:lin ang="5400000" scaled="0"/>
              </a:gradFill>
              <a:ea typeface="Segoe UI" pitchFamily="34" charset="0"/>
              <a:cs typeface="Segoe UI" pitchFamily="34"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sz="1000" kern="1200">
              <a:solidFill>
                <a:schemeClr val="tx1"/>
              </a:solidFill>
              <a:latin typeface="+mn-lt"/>
              <a:ea typeface="Calibri" panose="020F0502020204030204" pitchFamily="34" charset="0"/>
              <a:cs typeface="Times New Roman" panose="02020603050405020304" pitchFamily="18"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6/14/2021</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12232735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a:gradFill>
                  <a:gsLst>
                    <a:gs pos="2917">
                      <a:schemeClr val="tx1"/>
                    </a:gs>
                    <a:gs pos="30000">
                      <a:schemeClr val="tx1"/>
                    </a:gs>
                  </a:gsLst>
                  <a:lin ang="5400000" scaled="0"/>
                </a:gra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a:gradFill>
                  <a:gsLst>
                    <a:gs pos="2917">
                      <a:schemeClr val="tx1"/>
                    </a:gs>
                    <a:gs pos="30000">
                      <a:schemeClr val="tx1"/>
                    </a:gs>
                  </a:gsLst>
                  <a:lin ang="5400000" scaled="0"/>
                </a:gradFill>
              </a:rPr>
              <a:t>Power</a:t>
            </a:r>
            <a:r>
              <a:rPr lang="en-US" sz="1200" baseline="0">
                <a:gradFill>
                  <a:gsLst>
                    <a:gs pos="2917">
                      <a:schemeClr val="tx1"/>
                    </a:gs>
                    <a:gs pos="30000">
                      <a:schemeClr val="tx1"/>
                    </a:gs>
                  </a:gsLst>
                  <a:lin ang="5400000" scaled="0"/>
                </a:gradFill>
              </a:rPr>
              <a:t> BI provides developers with a platform to embed, extend and integrate Power BI into other application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a:gradFill>
                  <a:gsLst>
                    <a:gs pos="2917">
                      <a:schemeClr val="tx1"/>
                    </a:gs>
                    <a:gs pos="30000">
                      <a:schemeClr val="tx1"/>
                    </a:gs>
                  </a:gsLst>
                  <a:lin ang="5400000" scaled="0"/>
                </a:gradFill>
              </a:rPr>
              <a:t>Talking points:</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a:gradFill>
                  <a:gsLst>
                    <a:gs pos="2917">
                      <a:schemeClr val="tx1"/>
                    </a:gs>
                    <a:gs pos="30000">
                      <a:schemeClr val="tx1"/>
                    </a:gs>
                  </a:gsLst>
                  <a:lin ang="5400000" scaled="0"/>
                </a:gradFill>
              </a:rPr>
              <a:t>Embed</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a:gradFill>
                  <a:gsLst>
                    <a:gs pos="2917">
                      <a:schemeClr val="tx1"/>
                    </a:gs>
                    <a:gs pos="30000">
                      <a:schemeClr val="tx1"/>
                    </a:gs>
                  </a:gsLst>
                  <a:lin ang="5400000" scaled="0"/>
                </a:gradFill>
              </a:rPr>
              <a:t>Power</a:t>
            </a:r>
            <a:r>
              <a:rPr lang="en-US" sz="1200" b="0" baseline="0">
                <a:gradFill>
                  <a:gsLst>
                    <a:gs pos="2917">
                      <a:schemeClr val="tx1"/>
                    </a:gs>
                    <a:gs pos="30000">
                      <a:schemeClr val="tx1"/>
                    </a:gs>
                  </a:gsLst>
                  <a:lin ang="5400000" scaled="0"/>
                </a:gradFill>
              </a:rPr>
              <a:t> BI reports and tiles can be embedded into existing applications.</a:t>
            </a:r>
            <a:endParaRPr lang="en-US" sz="1200" b="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baseline="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a:gradFill>
                  <a:gsLst>
                    <a:gs pos="2917">
                      <a:schemeClr val="tx1"/>
                    </a:gs>
                    <a:gs pos="30000">
                      <a:schemeClr val="tx1"/>
                    </a:gs>
                  </a:gsLst>
                  <a:lin ang="5400000" scaled="0"/>
                </a:gradFill>
              </a:rPr>
              <a:t>Extend</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You can create a custom visual using the Power BI Developer Tools (Preview). In the Power BI </a:t>
            </a:r>
            <a:r>
              <a:rPr lang="en-US" b="1"/>
              <a:t>Developer Tools</a:t>
            </a:r>
            <a:r>
              <a:rPr lang="en-US"/>
              <a:t>, design and test a custom visual by writing custom visual </a:t>
            </a:r>
            <a:r>
              <a:rPr lang="en-US" b="1" err="1"/>
              <a:t>TypeScript</a:t>
            </a:r>
            <a:r>
              <a:rPr lang="en-US"/>
              <a:t> code, and creating CSS. Once you've tested your custom visual, you can export it to Power BI, or submit it to the </a:t>
            </a:r>
            <a:r>
              <a:rPr lang="en-US" b="1"/>
              <a:t>Power BI visuals</a:t>
            </a:r>
            <a:r>
              <a:rPr lang="en-US"/>
              <a:t> gallery.</a:t>
            </a:r>
            <a:endParaRPr lang="en-US" sz="1200" b="1" baseline="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baseline="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a:gradFill>
                  <a:gsLst>
                    <a:gs pos="2917">
                      <a:schemeClr val="tx1"/>
                    </a:gs>
                    <a:gs pos="30000">
                      <a:schemeClr val="tx1"/>
                    </a:gs>
                  </a:gsLst>
                  <a:lin ang="5400000" scaled="0"/>
                </a:gradFill>
              </a:rPr>
              <a:t>Integrate</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a:gradFill>
                  <a:gsLst>
                    <a:gs pos="2917">
                      <a:schemeClr val="tx1"/>
                    </a:gs>
                    <a:gs pos="30000">
                      <a:schemeClr val="tx1"/>
                    </a:gs>
                  </a:gsLst>
                  <a:lin ang="5400000" scaled="0"/>
                </a:gradFill>
              </a:rPr>
              <a:t>Here are some of the important uses of API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a:gradFill>
                  <a:gsLst>
                    <a:gs pos="2917">
                      <a:schemeClr val="tx1"/>
                    </a:gs>
                    <a:gs pos="30000">
                      <a:schemeClr val="tx1"/>
                    </a:gs>
                  </a:gsLst>
                  <a:lin ang="5400000" scaled="0"/>
                </a:gradFill>
              </a:rPr>
              <a:t>Push data directly from another application into Power BI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a:gradFill>
                  <a:gsLst>
                    <a:gs pos="2917">
                      <a:schemeClr val="tx1"/>
                    </a:gs>
                    <a:gs pos="30000">
                      <a:schemeClr val="tx1"/>
                    </a:gs>
                  </a:gsLst>
                  <a:lin ang="5400000" scaled="0"/>
                </a:gradFill>
              </a:rPr>
              <a:t>Push not only static data, but also real-time data, into Power BI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a:gradFill>
                  <a:gsLst>
                    <a:gs pos="2917">
                      <a:schemeClr val="tx1"/>
                    </a:gs>
                    <a:gs pos="30000">
                      <a:schemeClr val="tx1"/>
                    </a:gs>
                  </a:gsLst>
                  <a:lin ang="5400000" scaled="0"/>
                </a:gradFill>
              </a:rPr>
              <a:t>Just as Azure Stream Analytics can push data directly into Power BI, you can enable other applications to do the same thing for real time visibilit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a:gradFill>
                  <a:gsLst>
                    <a:gs pos="2917">
                      <a:schemeClr val="tx1"/>
                    </a:gs>
                    <a:gs pos="30000">
                      <a:schemeClr val="tx1"/>
                    </a:gs>
                  </a:gsLst>
                  <a:lin ang="5400000" scaled="0"/>
                </a:gradFill>
              </a:rPr>
              <a:t>This enables users to manage and monitor real-time conten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a:gradFill>
                  <a:gsLst>
                    <a:gs pos="2917">
                      <a:schemeClr val="tx1"/>
                    </a:gs>
                    <a:gs pos="30000">
                      <a:schemeClr val="tx1"/>
                    </a:gs>
                  </a:gsLst>
                  <a:lin ang="5400000" scaled="0"/>
                </a:gradFill>
              </a:rPr>
              <a:t>As discussed earlier, you can create custom connectors and content packs for unique data sources that Power BI doesn’t support as a defaul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a:gradFill>
                  <a:gsLst>
                    <a:gs pos="2917">
                      <a:schemeClr val="tx1"/>
                    </a:gs>
                    <a:gs pos="30000">
                      <a:schemeClr val="tx1"/>
                    </a:gs>
                  </a:gsLst>
                  <a:lin ang="5400000" scaled="0"/>
                </a:gradFill>
              </a:rPr>
              <a:t>Manage authentication using Azure Active Directory integration</a:t>
            </a:r>
            <a:endParaRPr lang="en-US" sz="1200">
              <a:gradFill>
                <a:gsLst>
                  <a:gs pos="2917">
                    <a:schemeClr val="tx1"/>
                  </a:gs>
                  <a:gs pos="30000">
                    <a:schemeClr val="tx1"/>
                  </a:gs>
                </a:gsLst>
                <a:lin ang="5400000" scaled="0"/>
              </a:gradFill>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6/14/2021</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19464781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000000"/>
                </a:solidFill>
              </a:rPr>
              <a:t>Power BI makes it possible to keep all</a:t>
            </a:r>
            <a:r>
              <a:rPr lang="en-US" sz="1200" b="0" i="0" baseline="0" dirty="0">
                <a:solidFill>
                  <a:srgbClr val="000000"/>
                </a:solidFill>
              </a:rPr>
              <a:t> your data current – and visualizations automatically recalibrate when data chang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000000"/>
                </a:solidFill>
              </a:rPr>
              <a:t>Talking poi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Refresh your Azure SQL Server, Azure SQL Data Warehouse, Spark on HDInsight data using </a:t>
            </a:r>
            <a:r>
              <a:rPr lang="en-US" sz="1200" dirty="0" err="1">
                <a:solidFill>
                  <a:srgbClr val="000000"/>
                </a:solidFill>
              </a:rPr>
              <a:t>DirectQuery</a:t>
            </a:r>
            <a:r>
              <a:rPr lang="en-US" sz="1200" dirty="0">
                <a:solidFill>
                  <a:srgbClr val="000000"/>
                </a:solidFill>
              </a:rPr>
              <a:t>. </a:t>
            </a:r>
            <a:r>
              <a:rPr lang="en-US" dirty="0"/>
              <a:t>With </a:t>
            </a:r>
            <a:r>
              <a:rPr lang="en-US" dirty="0" err="1"/>
              <a:t>DirectQuery</a:t>
            </a:r>
            <a:r>
              <a:rPr lang="en-US" dirty="0"/>
              <a:t>, queries are sent back to your Azure data store in real time as you explore the data. This, combined with the scale of Azure enables users to create dynamic reports in minutes against terabytes of data.</a:t>
            </a:r>
            <a:r>
              <a:rPr lang="en-US" sz="1200" dirty="0">
                <a:solidFill>
                  <a:srgbClr val="000000"/>
                </a:solidFill>
              </a:rPr>
              <a:t>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With SaaS solutions, data is refreshed automatically, typically on a daily basi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Data may also be refreshed on deman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rPr>
              <a:t>And even without user intervention, data is queried every 10 minutes to keep the dashboard up-to-d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Use </a:t>
            </a:r>
            <a:r>
              <a:rPr lang="en-US" sz="1200" b="1" i="0" baseline="0" dirty="0">
                <a:solidFill>
                  <a:srgbClr val="000000"/>
                </a:solidFill>
              </a:rPr>
              <a:t>live</a:t>
            </a:r>
            <a:r>
              <a:rPr lang="en-US" sz="1200" b="0" i="0" baseline="0" dirty="0">
                <a:solidFill>
                  <a:srgbClr val="000000"/>
                </a:solidFill>
              </a:rPr>
              <a:t> connectivity to </a:t>
            </a:r>
            <a:r>
              <a:rPr lang="en-US" sz="1200" dirty="0">
                <a:solidFill>
                  <a:srgbClr val="000000"/>
                </a:solidFill>
              </a:rPr>
              <a:t>SQL Server Analysis Services (SSAS) to see updates in</a:t>
            </a:r>
            <a:r>
              <a:rPr lang="en-US" sz="1200" baseline="0" dirty="0">
                <a:solidFill>
                  <a:srgbClr val="000000"/>
                </a:solidFill>
              </a:rPr>
              <a:t> your </a:t>
            </a:r>
            <a:r>
              <a:rPr lang="en-US" sz="1200" dirty="0">
                <a:solidFill>
                  <a:srgbClr val="000000"/>
                </a:solidFill>
              </a:rPr>
              <a:t>Power BI dashboard/report as the user</a:t>
            </a:r>
            <a:r>
              <a:rPr lang="en-US" sz="1200" baseline="0" dirty="0">
                <a:solidFill>
                  <a:srgbClr val="000000"/>
                </a:solidFill>
              </a:rPr>
              <a:t> interacts with it</a:t>
            </a:r>
            <a:endParaRPr lang="en-US" sz="1200" dirty="0">
              <a:solidFill>
                <a:srgbClr val="000000"/>
              </a:solidFill>
            </a:endParaRPr>
          </a:p>
          <a:p>
            <a:pPr marL="171450" indent="-171450">
              <a:buFont typeface="Arial" panose="020B0604020202020204" pitchFamily="34" charset="0"/>
              <a:buChar char="•"/>
            </a:pPr>
            <a:r>
              <a:rPr lang="en-US" sz="1200" dirty="0">
                <a:solidFill>
                  <a:srgbClr val="000000"/>
                </a:solidFill>
              </a:rPr>
              <a:t>Get </a:t>
            </a:r>
            <a:r>
              <a:rPr lang="en-US" sz="1200" b="1" dirty="0">
                <a:solidFill>
                  <a:srgbClr val="000000"/>
                </a:solidFill>
              </a:rPr>
              <a:t>real-time</a:t>
            </a:r>
            <a:r>
              <a:rPr lang="en-US" sz="1200" dirty="0">
                <a:solidFill>
                  <a:srgbClr val="000000"/>
                </a:solidFill>
              </a:rPr>
              <a:t> visibility via integration with Azure Stream Analytics, or by pushing data into Power BI using REST AP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000000"/>
                </a:solidFill>
              </a:rPr>
              <a:t>With the Power BI Gateway, you can schedule refreshes for your on-premises databases</a:t>
            </a:r>
          </a:p>
          <a:p>
            <a:pPr marL="171450" marR="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dirty="0">
                <a:solidFill>
                  <a:schemeClr val="tx1"/>
                </a:solidFill>
                <a:effectLst/>
                <a:latin typeface="+mn-lt"/>
                <a:ea typeface="+mn-ea"/>
                <a:cs typeface="+mn-cs"/>
              </a:rPr>
              <a:t>Row</a:t>
            </a:r>
            <a:r>
              <a:rPr lang="en-US" sz="1200" b="1" i="0" u="none" strike="noStrike" kern="1200" baseline="0" dirty="0">
                <a:solidFill>
                  <a:schemeClr val="tx1"/>
                </a:solidFill>
                <a:effectLst/>
                <a:latin typeface="+mn-lt"/>
                <a:ea typeface="+mn-ea"/>
                <a:cs typeface="+mn-cs"/>
              </a:rPr>
              <a:t> level security: </a:t>
            </a:r>
            <a:r>
              <a:rPr lang="en-US" sz="1200" b="0" i="0" u="none" strike="noStrike" kern="1200" dirty="0">
                <a:solidFill>
                  <a:schemeClr val="tx1"/>
                </a:solidFill>
                <a:effectLst/>
                <a:latin typeface="+mn-lt"/>
                <a:ea typeface="+mn-ea"/>
                <a:cs typeface="+mn-cs"/>
              </a:rPr>
              <a:t>Re-use</a:t>
            </a:r>
            <a:r>
              <a:rPr lang="en-US" sz="1200" b="0" i="0" u="none" strike="noStrike" kern="1200" baseline="0" dirty="0">
                <a:solidFill>
                  <a:schemeClr val="tx1"/>
                </a:solidFill>
                <a:effectLst/>
                <a:latin typeface="+mn-lt"/>
                <a:ea typeface="+mn-ea"/>
                <a:cs typeface="+mn-cs"/>
              </a:rPr>
              <a:t> on-prem role based row level security for Analysis Services</a:t>
            </a:r>
            <a:endParaRPr lang="en-US" sz="1200" b="0" i="0" u="none" strike="noStrike" kern="1200" dirty="0">
              <a:solidFill>
                <a:schemeClr val="tx1"/>
              </a:solidFill>
              <a:effectLst/>
              <a:latin typeface="+mn-lt"/>
              <a:ea typeface="+mn-ea"/>
              <a:cs typeface="+mn-cs"/>
            </a:endParaRPr>
          </a:p>
          <a:p>
            <a:pPr marL="171450" indent="-171450" rtl="0" eaLnBrk="1" fontAlgn="t" latinLnBrk="0" hangingPunct="1">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baseline="0" dirty="0">
              <a:solidFill>
                <a:srgbClr val="000000"/>
              </a:solidFill>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6/14/2021</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14497133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66FE32E-4D27-4B29-B8FB-FE12313DAC5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837261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a:solidFill>
                  <a:srgbClr val="000000"/>
                </a:solidFill>
              </a:rPr>
              <a:t>Key message:</a:t>
            </a:r>
          </a:p>
          <a:p>
            <a:pPr marL="0" marR="0" indent="0" algn="l" defTabSz="941603" rtl="0" eaLnBrk="1" fontAlgn="auto" latinLnBrk="0" hangingPunct="1">
              <a:lnSpc>
                <a:spcPct val="100000"/>
              </a:lnSpc>
              <a:spcBef>
                <a:spcPts val="0"/>
              </a:spcBef>
              <a:spcAft>
                <a:spcPts val="343"/>
              </a:spcAft>
              <a:buClrTx/>
              <a:buSzTx/>
              <a:buFontTx/>
              <a:buNone/>
              <a:tabLst/>
              <a:defRPr/>
            </a:pPr>
            <a:r>
              <a:rPr lang="en-US" sz="1200">
                <a:solidFill>
                  <a:srgbClr val="000000"/>
                </a:solidFill>
              </a:rPr>
              <a:t>Personal</a:t>
            </a:r>
            <a:r>
              <a:rPr lang="en-US" sz="1200" baseline="0">
                <a:solidFill>
                  <a:srgbClr val="000000"/>
                </a:solidFill>
              </a:rPr>
              <a:t> Gateway is required to refresh datasets from a supported on-premised data source in your organization. </a:t>
            </a:r>
            <a:endParaRPr lang="en-US" sz="120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a:solidFill>
                  <a:srgbClr val="000000"/>
                </a:solidFill>
              </a:rPr>
              <a:t>Talking point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a:solidFill>
                  <a:srgbClr val="000000"/>
                </a:solidFill>
              </a:rPr>
              <a:t>Personal Gateway is available with Power BI Pro.</a:t>
            </a:r>
            <a:endParaRPr lang="en-US" sz="1200">
              <a:solidFill>
                <a:srgbClr val="000000"/>
              </a:solidFill>
            </a:endParaRPr>
          </a:p>
          <a:p>
            <a:pPr marL="171450" indent="-171450">
              <a:spcAft>
                <a:spcPts val="600"/>
              </a:spcAft>
              <a:buFont typeface="Arial" panose="020B0604020202020204" pitchFamily="34" charset="0"/>
              <a:buChar char="•"/>
            </a:pPr>
            <a:r>
              <a:rPr lang="en-US" sz="1200" b="1">
                <a:solidFill>
                  <a:srgbClr val="000000"/>
                </a:solidFill>
              </a:rPr>
              <a:t>Anyone can refresh</a:t>
            </a:r>
            <a:br>
              <a:rPr lang="en-US" sz="1200" b="1">
                <a:solidFill>
                  <a:srgbClr val="000000"/>
                </a:solidFill>
              </a:rPr>
            </a:br>
            <a:r>
              <a:rPr lang="en-US" sz="1200">
                <a:solidFill>
                  <a:srgbClr val="000000"/>
                </a:solidFill>
              </a:rPr>
              <a:t>With Personal gateway, everyone can keep their data in Power BI in sync with their on-premises sources. </a:t>
            </a:r>
            <a:br>
              <a:rPr lang="en-US" sz="1200">
                <a:solidFill>
                  <a:srgbClr val="000000"/>
                </a:solidFill>
              </a:rPr>
            </a:br>
            <a:r>
              <a:rPr lang="en-US" sz="1200">
                <a:solidFill>
                  <a:srgbClr val="000000"/>
                </a:solidFill>
              </a:rPr>
              <a:t>No IT Dependency</a:t>
            </a:r>
          </a:p>
          <a:p>
            <a:pPr marL="171450" indent="-171450">
              <a:spcAft>
                <a:spcPts val="600"/>
              </a:spcAft>
              <a:buFont typeface="Arial" panose="020B0604020202020204" pitchFamily="34" charset="0"/>
              <a:buChar char="•"/>
            </a:pPr>
            <a:r>
              <a:rPr lang="en-US" sz="1200" b="1">
                <a:solidFill>
                  <a:srgbClr val="000000"/>
                </a:solidFill>
              </a:rPr>
              <a:t>Easy &amp; simple to use </a:t>
            </a:r>
            <a:r>
              <a:rPr lang="en-US" sz="1200">
                <a:solidFill>
                  <a:srgbClr val="000000"/>
                </a:solidFill>
              </a:rPr>
              <a:t> </a:t>
            </a:r>
            <a:br>
              <a:rPr lang="en-US" sz="1200">
                <a:solidFill>
                  <a:srgbClr val="000000"/>
                </a:solidFill>
              </a:rPr>
            </a:br>
            <a:r>
              <a:rPr lang="en-US" sz="1200">
                <a:solidFill>
                  <a:srgbClr val="000000"/>
                </a:solidFill>
              </a:rPr>
              <a:t>Personal Gateway is a lightweight one-click installer and once it is up and running on your computer, data refresh is seamless</a:t>
            </a:r>
          </a:p>
          <a:p>
            <a:pPr marL="171450" indent="-171450">
              <a:buFont typeface="Arial" panose="020B0604020202020204" pitchFamily="34" charset="0"/>
              <a:buChar char="•"/>
            </a:pPr>
            <a:r>
              <a:rPr lang="en-US" sz="1200" baseline="0">
                <a:solidFill>
                  <a:srgbClr val="000000"/>
                </a:solidFill>
              </a:rPr>
              <a:t>The Gateway supports REFRESH NOW and a SCHEDULE REFRESH. The data is cached</a:t>
            </a:r>
          </a:p>
          <a:p>
            <a:pPr marL="171450" indent="-171450">
              <a:buFont typeface="Arial" panose="020B0604020202020204" pitchFamily="34" charset="0"/>
              <a:buChar char="•"/>
            </a:pPr>
            <a:r>
              <a:rPr lang="en-US" sz="1200" b="1" baseline="0">
                <a:solidFill>
                  <a:srgbClr val="000000"/>
                </a:solidFill>
              </a:rPr>
              <a:t>Data transfer is secure</a:t>
            </a:r>
            <a:r>
              <a:rPr lang="en-US" sz="1200" baseline="0">
                <a:solidFill>
                  <a:srgbClr val="000000"/>
                </a:solidFill>
              </a:rPr>
              <a:t>. Data transfer between Power BI and the gateway is secured through Azure Service Bus. The Service Bus creates a secure channel between the Power BI service and your computer. Because the gateway provides this secure connection, there’s usually no need to open a port in your firewall.</a:t>
            </a:r>
          </a:p>
          <a:p>
            <a:pPr marL="285750" indent="-285750">
              <a:buFont typeface="Arial" panose="020B0604020202020204" pitchFamily="34" charset="0"/>
              <a:buChar char="•"/>
            </a:pPr>
            <a:endParaRPr lang="en-US" sz="1200" b="1">
              <a:solidFill>
                <a:srgbClr val="000000"/>
              </a:solidFill>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6/14/2021</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41524949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i="0">
                <a:solidFill>
                  <a:srgbClr val="000000"/>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a:solidFill>
                  <a:srgbClr val="000000"/>
                </a:solidFill>
              </a:rPr>
              <a:t>Enables IT departments to centrally deploy and manage </a:t>
            </a:r>
            <a:r>
              <a:rPr lang="en-US" sz="1600" err="1">
                <a:solidFill>
                  <a:srgbClr val="000000"/>
                </a:solidFill>
              </a:rPr>
              <a:t>on-premise</a:t>
            </a:r>
            <a:r>
              <a:rPr lang="en-US" sz="1600">
                <a:solidFill>
                  <a:srgbClr val="000000"/>
                </a:solidFill>
              </a:rPr>
              <a:t> data</a:t>
            </a:r>
            <a:r>
              <a:rPr lang="en-US" sz="1600" baseline="0">
                <a:solidFill>
                  <a:srgbClr val="000000"/>
                </a:solidFill>
              </a:rPr>
              <a:t> access</a:t>
            </a:r>
            <a:r>
              <a:rPr lang="en-US" sz="1600">
                <a:solidFill>
                  <a:srgbClr val="000000"/>
                </a:solidFill>
              </a:rPr>
              <a:t>, for a large group of users</a:t>
            </a:r>
            <a:r>
              <a:rPr lang="en-US" sz="1600" baseline="0">
                <a:solidFill>
                  <a:srgbClr val="000000"/>
                </a:solidFill>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600" baseline="0">
              <a:solidFill>
                <a:srgbClr val="000000"/>
              </a:solidFill>
            </a:endParaRPr>
          </a:p>
          <a:p>
            <a:pPr marL="0" lvl="0" indent="0">
              <a:spcBef>
                <a:spcPts val="600"/>
              </a:spcBef>
              <a:buNone/>
            </a:pPr>
            <a:r>
              <a:rPr lang="en-US" sz="1600" b="1" i="0" baseline="0">
                <a:solidFill>
                  <a:srgbClr val="000000"/>
                </a:solidFill>
              </a:rPr>
              <a:t>Talking points:</a:t>
            </a:r>
          </a:p>
          <a:p>
            <a:pPr marL="0" lvl="0" indent="0">
              <a:spcBef>
                <a:spcPts val="600"/>
              </a:spcBef>
              <a:buNone/>
            </a:pPr>
            <a:r>
              <a:rPr lang="en-US" sz="1200" b="1">
                <a:solidFill>
                  <a:srgbClr val="000000"/>
                </a:solidFill>
                <a:cs typeface="Segoe UI Light" panose="020B0502040204020203" pitchFamily="34" charset="0"/>
              </a:rPr>
              <a:t>Centralized way to refresh content in Power BI</a:t>
            </a:r>
            <a:endParaRPr lang="en-US" sz="1200">
              <a:solidFill>
                <a:srgbClr val="000000"/>
              </a:solidFill>
              <a:cs typeface="Segoe UI Light" panose="020B0502040204020203" pitchFamily="34" charset="0"/>
            </a:endParaRPr>
          </a:p>
          <a:p>
            <a:pPr marL="0" lvl="0" indent="0">
              <a:spcBef>
                <a:spcPts val="600"/>
              </a:spcBef>
              <a:buNone/>
            </a:pPr>
            <a:r>
              <a:rPr lang="en-US" sz="1200">
                <a:solidFill>
                  <a:srgbClr val="000000"/>
                </a:solidFill>
                <a:cs typeface="Segoe UI Light" panose="020B0502040204020203" pitchFamily="34" charset="0"/>
              </a:rPr>
              <a:t>Configure, manage and maintain a group of On-Premises</a:t>
            </a:r>
            <a:r>
              <a:rPr lang="en-US" sz="1200" baseline="0">
                <a:solidFill>
                  <a:srgbClr val="000000"/>
                </a:solidFill>
                <a:cs typeface="Segoe UI Light" panose="020B0502040204020203" pitchFamily="34" charset="0"/>
              </a:rPr>
              <a:t> Data Gateways</a:t>
            </a:r>
            <a:r>
              <a:rPr lang="en-US" sz="1200">
                <a:solidFill>
                  <a:srgbClr val="000000"/>
                </a:solidFill>
                <a:cs typeface="Segoe UI Light" panose="020B0502040204020203" pitchFamily="34" charset="0"/>
              </a:rPr>
              <a:t>.</a:t>
            </a:r>
            <a:br>
              <a:rPr lang="en-US" sz="1200">
                <a:solidFill>
                  <a:srgbClr val="000000"/>
                </a:solidFill>
                <a:cs typeface="Segoe UI Light" panose="020B0502040204020203" pitchFamily="34" charset="0"/>
              </a:rPr>
            </a:br>
            <a:r>
              <a:rPr lang="en-US" sz="1200">
                <a:solidFill>
                  <a:srgbClr val="000000"/>
                </a:solidFill>
                <a:cs typeface="Segoe UI Light" panose="020B0502040204020203" pitchFamily="34" charset="0"/>
              </a:rPr>
              <a:t>Transparently refresh data uploaded to Power BI for the business users and analysts. </a:t>
            </a:r>
          </a:p>
          <a:p>
            <a:pPr marL="0" indent="0">
              <a:spcBef>
                <a:spcPts val="1200"/>
              </a:spcBef>
              <a:buNone/>
            </a:pPr>
            <a:r>
              <a:rPr lang="en-US" sz="1200" b="1">
                <a:solidFill>
                  <a:srgbClr val="000000"/>
                </a:solidFill>
                <a:cs typeface="Segoe UI Light" panose="020B0502040204020203" pitchFamily="34" charset="0"/>
              </a:rPr>
              <a:t>Centralized access control</a:t>
            </a:r>
            <a:endParaRPr lang="en-US" sz="1200">
              <a:solidFill>
                <a:srgbClr val="000000"/>
              </a:solidFill>
              <a:cs typeface="Segoe UI Light" panose="020B0502040204020203" pitchFamily="34" charset="0"/>
            </a:endParaRPr>
          </a:p>
          <a:p>
            <a:pPr marL="0" indent="0">
              <a:spcBef>
                <a:spcPts val="600"/>
              </a:spcBef>
              <a:buNone/>
            </a:pPr>
            <a:r>
              <a:rPr lang="en-US" sz="1200">
                <a:solidFill>
                  <a:srgbClr val="000000"/>
                </a:solidFill>
                <a:cs typeface="Segoe UI Light" panose="020B0502040204020203" pitchFamily="34" charset="0"/>
              </a:rPr>
              <a:t>Centrally manage the set of users who can access the underlying data sources.</a:t>
            </a:r>
            <a:br>
              <a:rPr lang="en-US" sz="1200">
                <a:solidFill>
                  <a:srgbClr val="000000"/>
                </a:solidFill>
                <a:cs typeface="Segoe UI Light" panose="020B0502040204020203" pitchFamily="34" charset="0"/>
              </a:rPr>
            </a:br>
            <a:r>
              <a:rPr lang="en-US" sz="1200">
                <a:solidFill>
                  <a:srgbClr val="000000"/>
                </a:solidFill>
                <a:cs typeface="Segoe UI Light" panose="020B0502040204020203" pitchFamily="34" charset="0"/>
              </a:rPr>
              <a:t>Assign user permissions.</a:t>
            </a:r>
          </a:p>
          <a:p>
            <a:pPr marL="0" lvl="0" indent="0">
              <a:spcBef>
                <a:spcPts val="1200"/>
              </a:spcBef>
              <a:buNone/>
            </a:pPr>
            <a:r>
              <a:rPr lang="en-US" sz="1200" b="1">
                <a:solidFill>
                  <a:srgbClr val="000000"/>
                </a:solidFill>
                <a:cs typeface="Segoe UI Light" panose="020B0502040204020203" pitchFamily="34" charset="0"/>
              </a:rPr>
              <a:t>Enables BI governance – empower IT to monitor and audit usage</a:t>
            </a:r>
          </a:p>
          <a:p>
            <a:pPr marL="0" lvl="0" indent="0">
              <a:spcBef>
                <a:spcPts val="600"/>
              </a:spcBef>
              <a:buNone/>
            </a:pPr>
            <a:r>
              <a:rPr lang="en-US" sz="1200">
                <a:solidFill>
                  <a:srgbClr val="000000"/>
                </a:solidFill>
                <a:cs typeface="Segoe UI Light" panose="020B0502040204020203" pitchFamily="34" charset="0"/>
              </a:rPr>
              <a:t>Gain visibility into Data Gateway usage, such as commonly accessed data sources, and the users accessing them. </a:t>
            </a:r>
          </a:p>
          <a:p>
            <a:pPr marL="0" indent="0">
              <a:spcBef>
                <a:spcPts val="1200"/>
              </a:spcBef>
              <a:buNone/>
            </a:pPr>
            <a:r>
              <a:rPr lang="en-US" sz="1200" b="1">
                <a:solidFill>
                  <a:srgbClr val="000000"/>
                </a:solidFill>
                <a:cs typeface="Segoe UI Light" panose="020B0502040204020203" pitchFamily="34" charset="0"/>
              </a:rPr>
              <a:t>Direct access </a:t>
            </a:r>
          </a:p>
          <a:p>
            <a:pPr marL="0" indent="0">
              <a:spcBef>
                <a:spcPts val="600"/>
              </a:spcBef>
              <a:buNone/>
            </a:pPr>
            <a:r>
              <a:rPr lang="en-US" sz="1200">
                <a:solidFill>
                  <a:srgbClr val="000000"/>
                </a:solidFill>
                <a:cs typeface="Segoe UI Light" panose="020B0502040204020203" pitchFamily="34" charset="0"/>
              </a:rPr>
              <a:t>Direct access to a wide range of data sources, like SQL Server, SQL Server Analysis Services.</a:t>
            </a:r>
          </a:p>
          <a:p>
            <a:pPr marL="0" indent="0">
              <a:spcBef>
                <a:spcPts val="600"/>
              </a:spcBef>
              <a:buNone/>
            </a:pPr>
            <a:r>
              <a:rPr lang="en-US" sz="1200" b="1">
                <a:solidFill>
                  <a:srgbClr val="000000"/>
                </a:solidFill>
              </a:rPr>
              <a:t>Secure data</a:t>
            </a:r>
            <a:r>
              <a:rPr lang="en-US" sz="1200" b="1" baseline="0">
                <a:solidFill>
                  <a:srgbClr val="000000"/>
                </a:solidFill>
              </a:rPr>
              <a:t> transfer</a:t>
            </a:r>
          </a:p>
          <a:p>
            <a:pPr marL="0" indent="0">
              <a:spcBef>
                <a:spcPts val="600"/>
              </a:spcBef>
              <a:buNone/>
            </a:pPr>
            <a:r>
              <a:rPr lang="en-US" sz="1200">
                <a:solidFill>
                  <a:srgbClr val="000000"/>
                </a:solidFill>
              </a:rPr>
              <a:t>Data transfer between the Power BI service and the gateway is secured through </a:t>
            </a:r>
            <a:r>
              <a:rPr lang="en-US" sz="1200">
                <a:solidFill>
                  <a:srgbClr val="000000"/>
                </a:solidFill>
                <a:hlinkClick r:id="rId3"/>
              </a:rPr>
              <a:t>Azure Service Bus</a:t>
            </a:r>
            <a:r>
              <a:rPr lang="en-US" sz="1200">
                <a:solidFill>
                  <a:srgbClr val="000000"/>
                </a:solidFill>
              </a:rPr>
              <a:t>. The Service Bus creates a secure channel between the Power BI service and your computer. Because the gateway starts this secure connection, there’s usually no need to open a port in your firewall because it is an outbound connection.</a:t>
            </a:r>
          </a:p>
          <a:p>
            <a:pPr marL="0" marR="0" indent="0" algn="l" defTabSz="914400" rtl="0" eaLnBrk="1" fontAlgn="auto" latinLnBrk="0" hangingPunct="1">
              <a:lnSpc>
                <a:spcPct val="100000"/>
              </a:lnSpc>
              <a:spcBef>
                <a:spcPts val="600"/>
              </a:spcBef>
              <a:spcAft>
                <a:spcPts val="0"/>
              </a:spcAft>
              <a:buClrTx/>
              <a:buSzTx/>
              <a:buFontTx/>
              <a:buNone/>
              <a:tabLst/>
              <a:defRPr/>
            </a:pPr>
            <a:r>
              <a:rPr lang="en-US" sz="1200" b="1">
                <a:solidFill>
                  <a:srgbClr val="000000"/>
                </a:solidFill>
                <a:cs typeface="Segoe UI Light" panose="020B0502040204020203" pitchFamily="34" charset="0"/>
              </a:rPr>
              <a:t>Works with</a:t>
            </a:r>
            <a:r>
              <a:rPr lang="en-US" sz="1200" b="1" baseline="0">
                <a:solidFill>
                  <a:srgbClr val="000000"/>
                </a:solidFill>
                <a:cs typeface="Segoe UI Light" panose="020B0502040204020203" pitchFamily="34" charset="0"/>
              </a:rPr>
              <a:t> multiple</a:t>
            </a:r>
            <a:r>
              <a:rPr lang="en-US" sz="1200" b="1">
                <a:solidFill>
                  <a:srgbClr val="000000"/>
                </a:solidFill>
                <a:cs typeface="Segoe UI Light" panose="020B0502040204020203" pitchFamily="34" charset="0"/>
              </a:rPr>
              <a:t> services: </a:t>
            </a:r>
            <a:r>
              <a:rPr lang="en-US" sz="1200" b="0" baseline="0">
                <a:solidFill>
                  <a:srgbClr val="000000"/>
                </a:solidFill>
                <a:cs typeface="Segoe UI Light" panose="020B0502040204020203" pitchFamily="34" charset="0"/>
              </a:rPr>
              <a:t>Power BI,</a:t>
            </a:r>
            <a:r>
              <a:rPr lang="en-US" sz="1200" kern="1200">
                <a:solidFill>
                  <a:schemeClr val="tx1"/>
                </a:solidFill>
                <a:latin typeface="+mn-lt"/>
                <a:ea typeface="Calibri" panose="020F0502020204030204" pitchFamily="34" charset="0"/>
                <a:cs typeface="Times New Roman" panose="02020603050405020304" pitchFamily="18" charset="0"/>
              </a:rPr>
              <a:t> </a:t>
            </a:r>
            <a:r>
              <a:rPr lang="en-US" sz="1200" kern="1200" err="1">
                <a:solidFill>
                  <a:schemeClr val="tx1"/>
                </a:solidFill>
                <a:latin typeface="+mn-lt"/>
                <a:ea typeface="Calibri" panose="020F0502020204030204" pitchFamily="34" charset="0"/>
                <a:cs typeface="Times New Roman" panose="02020603050405020304" pitchFamily="18" charset="0"/>
              </a:rPr>
              <a:t>PowerApps</a:t>
            </a:r>
            <a:r>
              <a:rPr lang="en-US" sz="1200" kern="1200">
                <a:solidFill>
                  <a:schemeClr val="tx1"/>
                </a:solidFill>
                <a:latin typeface="+mn-lt"/>
                <a:ea typeface="Calibri" panose="020F0502020204030204" pitchFamily="34" charset="0"/>
                <a:cs typeface="Times New Roman" panose="02020603050405020304" pitchFamily="18" charset="0"/>
              </a:rPr>
              <a:t>, Microsoft Flow, Azure Logic Apps</a:t>
            </a:r>
          </a:p>
          <a:p>
            <a:pPr defTabSz="914400">
              <a:lnSpc>
                <a:spcPct val="100000"/>
              </a:lnSpc>
              <a:spcBef>
                <a:spcPts val="0"/>
              </a:spcBef>
              <a:buSzTx/>
              <a:buFont typeface="Arial" panose="020B0604020202020204" pitchFamily="34" charset="0"/>
              <a:buNone/>
              <a:defRPr/>
            </a:pPr>
            <a:r>
              <a:rPr lang="en-US" b="1"/>
              <a:t>Disaster recovery and gateway restore: </a:t>
            </a:r>
            <a:r>
              <a:rPr lang="en-US"/>
              <a:t>Gateway admin can use the recovery key to restore a gateway to a different machine. Once a gateway is restored, all data sources and credentials will continue to work through the new gateway. Restored gateway will have the same name, so no need for re-publish.</a:t>
            </a:r>
          </a:p>
          <a:p>
            <a:pPr marL="0" marR="0" indent="0" algn="l" defTabSz="914400" rtl="0" eaLnBrk="1" fontAlgn="auto" latinLnBrk="0" hangingPunct="1">
              <a:lnSpc>
                <a:spcPct val="100000"/>
              </a:lnSpc>
              <a:spcBef>
                <a:spcPts val="600"/>
              </a:spcBef>
              <a:spcAft>
                <a:spcPts val="0"/>
              </a:spcAft>
              <a:buClrTx/>
              <a:buSzTx/>
              <a:buFontTx/>
              <a:buNone/>
              <a:tabLst/>
              <a:defRPr/>
            </a:pPr>
            <a:endParaRPr lang="en-US" sz="1200" b="1" kern="1200">
              <a:solidFill>
                <a:schemeClr val="tx1"/>
              </a:solidFill>
              <a:latin typeface="+mn-lt"/>
              <a:ea typeface="Calibri" panose="020F0502020204030204" pitchFamily="34" charset="0"/>
              <a:cs typeface="Times New Roman" panose="02020603050405020304" pitchFamily="18" charset="0"/>
            </a:endParaRPr>
          </a:p>
          <a:p>
            <a:pPr marL="0" marR="0" indent="0" algn="l" defTabSz="914400" rtl="0" eaLnBrk="1" fontAlgn="auto" latinLnBrk="0" hangingPunct="1">
              <a:lnSpc>
                <a:spcPct val="100000"/>
              </a:lnSpc>
              <a:spcBef>
                <a:spcPts val="600"/>
              </a:spcBef>
              <a:spcAft>
                <a:spcPts val="0"/>
              </a:spcAft>
              <a:buClrTx/>
              <a:buSzTx/>
              <a:buFontTx/>
              <a:buNone/>
              <a:tabLst/>
              <a:defRPr/>
            </a:pPr>
            <a:endParaRPr lang="en-US" sz="1200" b="1">
              <a:solidFill>
                <a:srgbClr val="000000"/>
              </a:solidFill>
              <a:cs typeface="Segoe UI Light"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i="0" baseline="0">
              <a:solidFill>
                <a:srgbClr val="D2D2D2">
                  <a:lumMod val="50000"/>
                </a:srgbClr>
              </a:solidFill>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6/14/2021</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34410753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baseline="0" dirty="0"/>
              <a:t>Power BI helps your organization to drive user adoption with intuitive and familiar tools and collaboration features</a:t>
            </a:r>
          </a:p>
          <a:p>
            <a:endParaRPr lang="en-US" baseline="0" dirty="0"/>
          </a:p>
          <a:p>
            <a:r>
              <a:rPr lang="en-US" b="1" baseline="0" dirty="0"/>
              <a:t>Talking points:</a:t>
            </a:r>
          </a:p>
          <a:p>
            <a:pPr marL="0" marR="0" lvl="1" indent="0" algn="l" defTabSz="914400" rtl="0" eaLnBrk="1" fontAlgn="auto" latinLnBrk="0" hangingPunct="1">
              <a:lnSpc>
                <a:spcPct val="100000"/>
              </a:lnSpc>
              <a:spcBef>
                <a:spcPts val="0"/>
              </a:spcBef>
              <a:spcAft>
                <a:spcPts val="0"/>
              </a:spcAft>
              <a:buClrTx/>
              <a:buSzTx/>
              <a:buFontTx/>
              <a:buNone/>
              <a:tabLst/>
              <a:defRPr/>
            </a:pPr>
            <a:r>
              <a:rPr lang="en-US" b="1" baseline="0" dirty="0"/>
              <a:t>For IT: </a:t>
            </a:r>
            <a:r>
              <a:rPr lang="en-US" b="0" baseline="0" dirty="0"/>
              <a:t>a</a:t>
            </a:r>
            <a:r>
              <a:rPr lang="en-US" sz="1200" kern="1200" dirty="0">
                <a:solidFill>
                  <a:schemeClr val="tx1"/>
                </a:solidFill>
                <a:latin typeface="+mn-lt"/>
                <a:ea typeface="Calibri" panose="020F0502020204030204" pitchFamily="34" charset="0"/>
                <a:cs typeface="Times New Roman" panose="02020603050405020304" pitchFamily="18" charset="0"/>
              </a:rPr>
              <a:t>dministering Power BI tenants, users, and groups is the same as administering them in Office 365</a:t>
            </a:r>
          </a:p>
          <a:p>
            <a:r>
              <a:rPr lang="en-US" b="1" baseline="0" dirty="0"/>
              <a:t>For the analyst: </a:t>
            </a:r>
            <a:r>
              <a:rPr lang="en-US" b="0" baseline="0" dirty="0"/>
              <a:t>familiar tools for data preparation, modeling, and report creation – Power BI Desktop and Excel</a:t>
            </a:r>
            <a:endParaRPr lang="en-US" b="1" baseline="0" dirty="0"/>
          </a:p>
          <a:p>
            <a:pPr fontAlgn="base"/>
            <a:r>
              <a:rPr lang="en-US" sz="1200" b="1" i="0" kern="1200" dirty="0">
                <a:solidFill>
                  <a:schemeClr val="tx1"/>
                </a:solidFill>
                <a:effectLst/>
              </a:rPr>
              <a:t>For</a:t>
            </a:r>
            <a:r>
              <a:rPr lang="en-US" sz="1200" b="1" i="0" kern="1200" baseline="0" dirty="0">
                <a:solidFill>
                  <a:schemeClr val="tx1"/>
                </a:solidFill>
                <a:effectLst/>
              </a:rPr>
              <a:t> the end user:</a:t>
            </a:r>
          </a:p>
          <a:p>
            <a:pPr fontAlgn="base"/>
            <a:r>
              <a:rPr lang="en-US" sz="1200" b="1" i="0" kern="1200" dirty="0">
                <a:solidFill>
                  <a:schemeClr val="tx1"/>
                </a:solidFill>
                <a:effectLst/>
              </a:rPr>
              <a:t>Share a dashboard with colleagues and others</a:t>
            </a:r>
          </a:p>
          <a:p>
            <a:pPr fontAlgn="base"/>
            <a:r>
              <a:rPr lang="en-US" sz="2000" b="0" i="0" kern="1200" dirty="0">
                <a:solidFill>
                  <a:schemeClr val="tx1"/>
                </a:solidFill>
                <a:effectLst/>
                <a:latin typeface="+mn-lt"/>
                <a:ea typeface="+mn-ea"/>
                <a:cs typeface="+mn-cs"/>
              </a:rPr>
              <a:t>When you share a dashboard, those you share it with can view it and interact with it, but can't edit it. They can see the same data that you see in the dashboard and reports. Your colleagues can share the dashboard with other colleagues, if you allow them to. Those outside your organization can view and interact with the dashboard, but can't share it.</a:t>
            </a:r>
            <a:r>
              <a:rPr lang="en-US" sz="1200" b="0" i="0" kern="1200" dirty="0">
                <a:solidFill>
                  <a:schemeClr val="tx1"/>
                </a:solidFill>
                <a:effectLst/>
              </a:rPr>
              <a:t>.</a:t>
            </a:r>
          </a:p>
          <a:p>
            <a:pPr marL="171450" indent="-171450">
              <a:buFont typeface="Arial" panose="020B0604020202020204" pitchFamily="34" charset="0"/>
              <a:buChar char="•"/>
            </a:pPr>
            <a:r>
              <a:rPr lang="en-US" sz="1200" baseline="0" dirty="0"/>
              <a:t>Make changes to dashboard after you’ve sent it out, and it will automatically sync across all users</a:t>
            </a:r>
          </a:p>
          <a:p>
            <a:pPr marL="171450" indent="-171450">
              <a:buFont typeface="Arial" panose="020B0604020202020204" pitchFamily="34" charset="0"/>
              <a:buChar char="•"/>
            </a:pPr>
            <a:r>
              <a:rPr lang="en-US" sz="1200" baseline="0" dirty="0"/>
              <a:t>Share only your </a:t>
            </a:r>
            <a:r>
              <a:rPr lang="en-US" sz="1200" dirty="0"/>
              <a:t>dashboard</a:t>
            </a:r>
            <a:r>
              <a:rPr lang="en-US" sz="1200" baseline="0" dirty="0"/>
              <a:t>, keeping access to the source data and reports secure. </a:t>
            </a:r>
            <a:r>
              <a:rPr lang="en-US" sz="1200" dirty="0"/>
              <a:t>What</a:t>
            </a:r>
            <a:r>
              <a:rPr lang="en-US" sz="1200" baseline="0" dirty="0"/>
              <a:t> this means: </a:t>
            </a:r>
            <a:r>
              <a:rPr lang="en-US" sz="1200" dirty="0"/>
              <a:t>Users who receiving a sharing invitation cannot change filters or drill down into data  - they only see</a:t>
            </a:r>
            <a:r>
              <a:rPr lang="en-US" sz="1200" baseline="0" dirty="0"/>
              <a:t> what’s in the dashboard</a:t>
            </a:r>
          </a:p>
          <a:p>
            <a:pPr marL="171450" indent="-171450">
              <a:buFont typeface="Arial" panose="020B0604020202020204" pitchFamily="34" charset="0"/>
              <a:buChar char="•"/>
            </a:pPr>
            <a:r>
              <a:rPr lang="en-US" sz="1200" baseline="0" dirty="0"/>
              <a:t>Manage who can re-share dashboards with others</a:t>
            </a:r>
          </a:p>
          <a:p>
            <a:pPr marL="171450" indent="-171450">
              <a:buFont typeface="Arial" panose="020B0604020202020204" pitchFamily="34" charset="0"/>
              <a:buChar char="•"/>
            </a:pPr>
            <a:r>
              <a:rPr lang="en-US" sz="1200" dirty="0"/>
              <a:t>Share dashboards b</a:t>
            </a:r>
            <a:r>
              <a:rPr lang="en-US" sz="2800" dirty="0">
                <a:solidFill>
                  <a:schemeClr val="tx1"/>
                </a:solidFill>
                <a:ea typeface="Calibri" panose="020F0502020204030204" pitchFamily="34" charset="0"/>
                <a:cs typeface="Times New Roman" panose="02020603050405020304" pitchFamily="18" charset="0"/>
              </a:rPr>
              <a:t>ased on email or O365 distribution group</a:t>
            </a:r>
          </a:p>
          <a:p>
            <a:pPr marL="171450" indent="-171450">
              <a:buFont typeface="Arial" panose="020B0604020202020204" pitchFamily="34" charset="0"/>
              <a:buChar char="•"/>
            </a:pPr>
            <a:r>
              <a:rPr lang="en-US" sz="1200" dirty="0"/>
              <a:t>Share without email notification, copy and share a link instead, e.g. on another portal</a:t>
            </a:r>
          </a:p>
          <a:p>
            <a:pPr marL="171450" indent="-171450">
              <a:buFont typeface="Arial" panose="020B0604020202020204" pitchFamily="34" charset="0"/>
              <a:buChar char="•"/>
            </a:pPr>
            <a:r>
              <a:rPr lang="en-US" sz="1200" dirty="0"/>
              <a:t>People picker with autocomplete as you start typing the name of recipients</a:t>
            </a:r>
          </a:p>
          <a:p>
            <a:pPr marL="171450" indent="-171450">
              <a:buFont typeface="Arial" panose="020B0604020202020204" pitchFamily="34" charset="0"/>
              <a:buChar char="•"/>
            </a:pPr>
            <a:r>
              <a:rPr lang="en-US" sz="1200" dirty="0"/>
              <a:t>Copy/paste large number of email addresses you want to share with, e.g. copy directly from Outlook</a:t>
            </a:r>
          </a:p>
          <a:p>
            <a:pPr marL="171450" indent="-171450">
              <a:buFont typeface="Arial" panose="020B0604020202020204" pitchFamily="34" charset="0"/>
              <a:buChar char="•"/>
            </a:pPr>
            <a:r>
              <a:rPr lang="en-US" sz="1200" dirty="0"/>
              <a:t>Collapse navigation pane with URL parameter</a:t>
            </a:r>
          </a:p>
          <a:p>
            <a:endParaRPr lang="en-US" sz="1200" b="0" i="0" kern="1200" dirty="0">
              <a:solidFill>
                <a:schemeClr val="tx1"/>
              </a:solidFill>
              <a:effectLst/>
            </a:endParaRPr>
          </a:p>
          <a:p>
            <a:pPr fontAlgn="base"/>
            <a:r>
              <a:rPr lang="en-US" sz="1200" b="1" i="0" kern="1200" dirty="0">
                <a:solidFill>
                  <a:schemeClr val="tx1"/>
                </a:solidFill>
                <a:effectLst/>
              </a:rPr>
              <a:t>Collaborate in a group workspace</a:t>
            </a:r>
          </a:p>
          <a:p>
            <a:pPr marL="171450" indent="-171450">
              <a:buFont typeface="Arial" panose="020B0604020202020204" pitchFamily="34" charset="0"/>
              <a:buChar char="•"/>
            </a:pPr>
            <a:r>
              <a:rPr lang="en-US" sz="2000" b="0" i="0" kern="1200" dirty="0">
                <a:solidFill>
                  <a:schemeClr val="tx1"/>
                </a:solidFill>
                <a:effectLst/>
                <a:latin typeface="+mn-lt"/>
                <a:ea typeface="+mn-ea"/>
                <a:cs typeface="+mn-cs"/>
              </a:rPr>
              <a:t>Groups in Power BI are built on Office 365 groups, so you and your colleagues need a Power BI Pro license. When you're a member of a group, you can create a dashboard in the group workspace. Everyone in the group can view, interact with, and edit the dashboard and its reports. They have the same permission you have</a:t>
            </a:r>
          </a:p>
          <a:p>
            <a:pPr marL="0" indent="0">
              <a:buFont typeface="Arial" panose="020B0604020202020204" pitchFamily="34" charset="0"/>
              <a:buNone/>
            </a:pPr>
            <a:endParaRPr lang="en-US" sz="1200" b="0" i="0" kern="1200" dirty="0">
              <a:solidFill>
                <a:schemeClr val="tx1"/>
              </a:solidFill>
              <a:effectLst/>
            </a:endParaRPr>
          </a:p>
          <a:p>
            <a:pPr fontAlgn="base"/>
            <a:r>
              <a:rPr lang="en-US" sz="1200" b="1" i="0" kern="1200" dirty="0">
                <a:solidFill>
                  <a:schemeClr val="tx1"/>
                </a:solidFill>
                <a:effectLst/>
              </a:rPr>
              <a:t>Create a content pack and publish it</a:t>
            </a:r>
          </a:p>
          <a:p>
            <a:pPr marL="171450" indent="-171450">
              <a:buFont typeface="Arial" panose="020B0604020202020204" pitchFamily="34" charset="0"/>
              <a:buChar char="•"/>
            </a:pPr>
            <a:r>
              <a:rPr lang="en-US" sz="1200" b="0" i="0" kern="1200" dirty="0">
                <a:solidFill>
                  <a:schemeClr val="tx1"/>
                </a:solidFill>
                <a:effectLst/>
              </a:rPr>
              <a:t>Content packs are a great way to share your Power BI insights with your colleagues. </a:t>
            </a:r>
          </a:p>
          <a:p>
            <a:pPr marL="171450" indent="-171450">
              <a:buFont typeface="Arial" panose="020B0604020202020204" pitchFamily="34" charset="0"/>
              <a:buChar char="•"/>
            </a:pPr>
            <a:r>
              <a:rPr lang="en-US" sz="1200" b="0" i="0" kern="1200" dirty="0">
                <a:solidFill>
                  <a:schemeClr val="tx1"/>
                </a:solidFill>
                <a:effectLst/>
              </a:rPr>
              <a:t>You create a dashboard with its reports and datasets, and then publish them all together as a content pack -- either for your whole organization or for those in a specific security group or distribution list. When those colleagues go to the Content Pack Library for their organization, they see your content pack along with any others they have permission to see</a:t>
            </a:r>
          </a:p>
          <a:p>
            <a:endParaRPr lang="en-US" dirty="0"/>
          </a:p>
          <a:p>
            <a:endParaRPr lang="en-US" dirty="0"/>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6/14/2021</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37946264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b="0" dirty="0"/>
              <a:t>There are common challenges that IT professionals are faced with when implementing a new BI solution</a:t>
            </a:r>
            <a:endParaRPr lang="en-US" b="0" dirty="0">
              <a:cs typeface="Calibri"/>
            </a:endParaRPr>
          </a:p>
          <a:p>
            <a:endParaRPr lang="en-US" sz="1200" kern="1200">
              <a:solidFill>
                <a:schemeClr val="tx1">
                  <a:lumMod val="75000"/>
                  <a:lumOff val="25000"/>
                </a:schemeClr>
              </a:solidFill>
              <a:latin typeface="+mn-lt"/>
              <a:ea typeface="Segoe UI" pitchFamily="34" charset="0"/>
              <a:cs typeface="Segoe UI" pitchFamily="34" charset="0"/>
            </a:endParaRPr>
          </a:p>
          <a:p>
            <a:r>
              <a:rPr lang="en-US" sz="1200" b="1" kern="1200" dirty="0">
                <a:solidFill>
                  <a:schemeClr val="tx1">
                    <a:lumMod val="75000"/>
                    <a:lumOff val="25000"/>
                  </a:schemeClr>
                </a:solidFill>
                <a:latin typeface="+mn-lt"/>
                <a:ea typeface="Segoe UI" pitchFamily="34" charset="0"/>
                <a:cs typeface="Calibri"/>
              </a:rPr>
              <a:t>Talking point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EDC30D"/>
                </a:solidFill>
                <a:latin typeface="Segoe UI Light"/>
                <a:ea typeface="Segoe UI" pitchFamily="34" charset="0"/>
                <a:cs typeface="Segoe UI Light"/>
              </a:rPr>
              <a:t>Management of BI systems</a:t>
            </a:r>
            <a:endParaRPr lang="en-US" sz="1200">
              <a:solidFill>
                <a:srgbClr val="EDC30D"/>
              </a:solidFill>
              <a:latin typeface="Segoe UI Light"/>
              <a:ea typeface="Segoe UI" pitchFamily="34" charset="0"/>
              <a:cs typeface="Segoe UI Light"/>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EDC30D"/>
                </a:solidFill>
                <a:latin typeface="Segoe UI Light"/>
                <a:ea typeface="Segoe UI" pitchFamily="34" charset="0"/>
                <a:cs typeface="Segoe UI Light"/>
              </a:rPr>
              <a:t>Variety of data sources</a:t>
            </a:r>
            <a:endParaRPr lang="en-US" sz="1200">
              <a:solidFill>
                <a:srgbClr val="EDC30D"/>
              </a:solidFill>
              <a:latin typeface="Segoe UI Light"/>
              <a:ea typeface="Segoe UI" pitchFamily="34" charset="0"/>
              <a:cs typeface="Segoe UI Light"/>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EDC30D"/>
                </a:solidFill>
                <a:latin typeface="Segoe UI Light"/>
                <a:ea typeface="Segoe UI" pitchFamily="34" charset="0"/>
                <a:cs typeface="Segoe UI Light"/>
              </a:rPr>
              <a:t>Managing data in the cloud</a:t>
            </a:r>
            <a:endParaRPr lang="en-US" sz="1200">
              <a:solidFill>
                <a:srgbClr val="EDC30D"/>
              </a:solidFill>
              <a:latin typeface="Segoe UI Light"/>
              <a:ea typeface="Segoe UI" pitchFamily="34" charset="0"/>
              <a:cs typeface="Segoe UI Light"/>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EDC30D"/>
                </a:solidFill>
                <a:latin typeface="Segoe UI Light"/>
                <a:ea typeface="Segoe UI" pitchFamily="34" charset="0"/>
                <a:cs typeface="Segoe UI Light"/>
              </a:rPr>
              <a:t>Integration with existing environment</a:t>
            </a:r>
            <a:endParaRPr lang="en-US" sz="1200">
              <a:solidFill>
                <a:srgbClr val="EDC30D"/>
              </a:solidFill>
              <a:latin typeface="Segoe UI Light"/>
              <a:ea typeface="Segoe UI" pitchFamily="34" charset="0"/>
              <a:cs typeface="Segoe UI Light"/>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EDC30D"/>
                </a:solidFill>
                <a:latin typeface="Segoe UI Light"/>
                <a:ea typeface="Segoe UI" pitchFamily="34" charset="0"/>
                <a:cs typeface="Segoe UI Light"/>
              </a:rPr>
              <a:t>Keeping data current</a:t>
            </a:r>
            <a:endParaRPr lang="en-US" sz="1200">
              <a:solidFill>
                <a:srgbClr val="EDC30D"/>
              </a:solidFill>
              <a:latin typeface="Segoe UI Light"/>
              <a:ea typeface="Segoe UI" pitchFamily="34" charset="0"/>
              <a:cs typeface="Segoe UI Light"/>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EDC30D"/>
                </a:solidFill>
                <a:latin typeface="Segoe UI Light"/>
                <a:ea typeface="Segoe UI" pitchFamily="34" charset="0"/>
                <a:cs typeface="Segoe UI Light"/>
              </a:rPr>
              <a:t>Ease of use and adop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EDC30D"/>
              </a:solidFill>
              <a:latin typeface="Segoe UI Light"/>
              <a:ea typeface="Segoe UI" pitchFamily="34" charset="0"/>
              <a:cs typeface="Segoe U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EDC30D"/>
              </a:solidFill>
              <a:latin typeface="Segoe UI Light"/>
              <a:ea typeface="Segoe UI" pitchFamily="34" charset="0"/>
              <a:cs typeface="Segoe U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EDC30D"/>
              </a:solidFill>
              <a:latin typeface="Segoe UI Light"/>
              <a:ea typeface="Segoe UI" pitchFamily="34" charset="0"/>
              <a:cs typeface="Segoe U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EDC30D"/>
              </a:solidFill>
              <a:latin typeface="Segoe UI Light"/>
              <a:ea typeface="Segoe UI" pitchFamily="34" charset="0"/>
              <a:cs typeface="Segoe UI" pitchFamily="34" charset="0"/>
            </a:endParaRPr>
          </a:p>
          <a:p>
            <a:endParaRPr lang="en-US"/>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33134611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aseline="0"/>
              <a:t>Let’s walk through an overview of what Power BI is.  </a:t>
            </a:r>
          </a:p>
          <a:p>
            <a:pPr marL="228600" indent="-228600">
              <a:buFont typeface="+mj-lt"/>
              <a:buAutoNum type="arabicPeriod"/>
            </a:pPr>
            <a:endParaRPr lang="en-US" sz="1000" b="1" baseline="0"/>
          </a:p>
          <a:p>
            <a:r>
              <a:rPr lang="en-US" sz="1000" b="1"/>
              <a:t>1. The</a:t>
            </a:r>
            <a:r>
              <a:rPr lang="en-US" sz="1000" b="1" baseline="0"/>
              <a:t> Power BI Service, sometimes referred to as </a:t>
            </a:r>
            <a:r>
              <a:rPr lang="en-US" sz="1000" b="1"/>
              <a:t>powerbi.com,</a:t>
            </a:r>
            <a:r>
              <a:rPr lang="en-US" sz="1000" b="1" baseline="0"/>
              <a:t> </a:t>
            </a:r>
            <a:r>
              <a:rPr lang="en-US" sz="1000"/>
              <a:t>is what allows</a:t>
            </a:r>
            <a:r>
              <a:rPr lang="en-US" sz="1000" baseline="0"/>
              <a:t> you to</a:t>
            </a:r>
            <a:r>
              <a:rPr lang="en-US" sz="1000"/>
              <a:t>: </a:t>
            </a:r>
          </a:p>
          <a:p>
            <a:pPr marL="628650" lvl="1" indent="-171450">
              <a:buFont typeface="Arial" panose="020B0604020202020204" pitchFamily="34" charset="0"/>
              <a:buChar char="•"/>
            </a:pPr>
            <a:r>
              <a:rPr lang="en-US" sz="1000" baseline="0"/>
              <a:t>Create beautiful visualizations to tell compelling data stories. </a:t>
            </a:r>
          </a:p>
          <a:p>
            <a:pPr marL="628650" lvl="1" indent="-171450">
              <a:buFont typeface="Arial" panose="020B0604020202020204" pitchFamily="34" charset="0"/>
              <a:buChar char="•"/>
            </a:pPr>
            <a:r>
              <a:rPr lang="en-US" sz="1000" baseline="0"/>
              <a:t>Build rich, live dashboards that turn BI into business insights.</a:t>
            </a:r>
          </a:p>
          <a:p>
            <a:pPr marL="628650" lvl="1" indent="-171450">
              <a:buFont typeface="Arial" panose="020B0604020202020204" pitchFamily="34" charset="0"/>
              <a:buChar char="•"/>
            </a:pPr>
            <a:r>
              <a:rPr lang="en-US" sz="1000"/>
              <a:t>Create reports</a:t>
            </a:r>
            <a:r>
              <a:rPr lang="en-US" sz="1000" baseline="0"/>
              <a:t> &amp; datasets from which you can create visualizations and dashboards.</a:t>
            </a:r>
          </a:p>
          <a:p>
            <a:pPr marL="628650" lvl="1" indent="-171450">
              <a:buFont typeface="Arial" panose="020B0604020202020204" pitchFamily="34" charset="0"/>
              <a:buChar char="•"/>
            </a:pPr>
            <a:r>
              <a:rPr lang="en-US" sz="1000" baseline="0"/>
              <a:t>Enjoy the benefits of up-to-date data with real-time, automatic and scheduled refreshes.</a:t>
            </a:r>
          </a:p>
          <a:p>
            <a:pPr marL="628650" lvl="1" indent="-171450">
              <a:buFont typeface="Arial" panose="020B0604020202020204" pitchFamily="34" charset="0"/>
              <a:buChar char="•"/>
            </a:pPr>
            <a:r>
              <a:rPr lang="en-US" sz="1000" baseline="0"/>
              <a:t>Share dashboards easily with other people in your organization.</a:t>
            </a:r>
          </a:p>
          <a:p>
            <a:pPr marL="628650" lvl="1" indent="-171450">
              <a:buFont typeface="Arial" panose="020B0604020202020204" pitchFamily="34" charset="0"/>
              <a:buChar char="•"/>
            </a:pPr>
            <a:r>
              <a:rPr lang="en-US" sz="1000" baseline="0"/>
              <a:t>Ask questions of data in plain English with Natural Language Query.</a:t>
            </a:r>
          </a:p>
          <a:p>
            <a:pPr marL="628650" lvl="1" indent="-171450">
              <a:buFont typeface="Arial" panose="020B0604020202020204" pitchFamily="34" charset="0"/>
              <a:buChar char="•"/>
            </a:pPr>
            <a:r>
              <a:rPr lang="en-US" sz="1000" baseline="0"/>
              <a:t>Stay connected to data all the time with mobile applications.</a:t>
            </a:r>
          </a:p>
          <a:p>
            <a:pPr marL="457200" lvl="1" indent="0">
              <a:buFont typeface="Arial" panose="020B0604020202020204" pitchFamily="34" charset="0"/>
              <a:buNone/>
            </a:pPr>
            <a:endParaRPr lang="en-US" sz="1000" baseline="0"/>
          </a:p>
          <a:p>
            <a:pPr marL="0" indent="0">
              <a:buFont typeface="+mj-lt"/>
              <a:buNone/>
            </a:pPr>
            <a:r>
              <a:rPr lang="en-US" sz="1000" b="1" baseline="0"/>
              <a:t>2. </a:t>
            </a:r>
            <a:r>
              <a:rPr lang="en-US" sz="1000" b="0" baseline="0"/>
              <a:t>Power BI </a:t>
            </a:r>
            <a:r>
              <a:rPr lang="en-US" sz="1000" b="1" baseline="0"/>
              <a:t>connects to a variety of data sources. </a:t>
            </a:r>
            <a:r>
              <a:rPr lang="en-US" sz="1000" baseline="0"/>
              <a:t>These range across both cloud and on-premises sources, and include:</a:t>
            </a:r>
          </a:p>
          <a:p>
            <a:pPr marL="628650" lvl="1" indent="-171450">
              <a:buFont typeface="Arial" panose="020B0604020202020204" pitchFamily="34" charset="0"/>
              <a:buChar char="•"/>
            </a:pPr>
            <a:r>
              <a:rPr lang="en-US" sz="1000" baseline="0"/>
              <a:t>A variety of </a:t>
            </a:r>
            <a:r>
              <a:rPr lang="en-US" sz="1000" b="1" baseline="0"/>
              <a:t>popular SaaS solutions</a:t>
            </a:r>
            <a:r>
              <a:rPr lang="en-US" sz="1000" baseline="0"/>
              <a:t>, such as </a:t>
            </a:r>
            <a:r>
              <a:rPr lang="en-US" sz="1000" baseline="0" err="1"/>
              <a:t>Marketo</a:t>
            </a:r>
            <a:r>
              <a:rPr lang="en-US" sz="1000" baseline="0"/>
              <a:t>, Salesforce, GitHub, Dynamics CRM, </a:t>
            </a:r>
            <a:r>
              <a:rPr lang="en-US" sz="1000" baseline="0" err="1"/>
              <a:t>Zendesk</a:t>
            </a:r>
            <a:r>
              <a:rPr lang="en-US" sz="1000" baseline="0"/>
              <a:t>, and several others.</a:t>
            </a:r>
            <a:endParaRPr lang="en-US" sz="1000" b="0" baseline="0"/>
          </a:p>
          <a:p>
            <a:pPr marL="628650" lvl="1" indent="-171450">
              <a:buFont typeface="Arial" panose="020B0604020202020204" pitchFamily="34" charset="0"/>
              <a:buChar char="•"/>
            </a:pPr>
            <a:r>
              <a:rPr lang="en-US" sz="1000" b="1" baseline="0"/>
              <a:t>On-premises databases </a:t>
            </a:r>
            <a:r>
              <a:rPr lang="en-US" sz="1000" baseline="0"/>
              <a:t>– Power BI offers live connectivity to SQL Server Analysis Services and others, which we’ll cover in more detail later. And using a gateway solution, Power BI can connect to other database solutions. </a:t>
            </a:r>
          </a:p>
          <a:p>
            <a:pPr marL="628650" lvl="1" indent="-171450">
              <a:buFont typeface="Arial" panose="020B0604020202020204" pitchFamily="34" charset="0"/>
              <a:buChar char="•"/>
            </a:pPr>
            <a:r>
              <a:rPr lang="en-US" sz="1000" b="1" baseline="0"/>
              <a:t>Custom data sources </a:t>
            </a:r>
            <a:r>
              <a:rPr lang="en-US" sz="1000" baseline="0"/>
              <a:t>– </a:t>
            </a:r>
            <a:r>
              <a:rPr lang="en-US" sz="1000" b="0" baseline="0"/>
              <a:t>Power BI can connect to any data source you need it to thanks to its extensibility via REST APIs. This includes both proprietary corporate data sources, as well as external data services. For example, if you are a SaaS solution provider, you can work with Microsoft to connect your solution to Power BI.</a:t>
            </a:r>
            <a:endParaRPr lang="en-US" sz="1000" baseline="0"/>
          </a:p>
          <a:p>
            <a:pPr marL="628650" lvl="1" indent="-171450">
              <a:buFont typeface="Arial" panose="020B0604020202020204" pitchFamily="34" charset="0"/>
              <a:buChar char="•"/>
            </a:pPr>
            <a:r>
              <a:rPr lang="en-US" sz="1000" b="1" baseline="0"/>
              <a:t>Other Azure services</a:t>
            </a:r>
            <a:r>
              <a:rPr lang="en-US" sz="1000" baseline="0"/>
              <a:t> – Power BI integrates tightly with SQL Azure and Stream Analytics, and will be integrating closely with more Azure services over time.</a:t>
            </a:r>
          </a:p>
          <a:p>
            <a:pPr marL="628650" lvl="1" indent="-171450">
              <a:buFont typeface="Arial" panose="020B0604020202020204" pitchFamily="34" charset="0"/>
              <a:buChar char="•"/>
            </a:pPr>
            <a:r>
              <a:rPr lang="en-US" sz="1000" b="1" baseline="0"/>
              <a:t>Power BI Desktop, Excel and CSV files </a:t>
            </a:r>
            <a:r>
              <a:rPr lang="en-US" sz="1000" baseline="0"/>
              <a:t>– Excel workbooks can be directly connected to Power BI.com, or may be used with Power BI Desktop. Power BI Desktop is the companion application to the Power BI service – it is a desktop tool that supports data analysis and reporting. Like Excel files, or CSV files, Power BI Desktop files can be uploaded to the Power BI service. </a:t>
            </a:r>
          </a:p>
          <a:p>
            <a:pPr marL="0" lvl="0" indent="0">
              <a:buFont typeface="Arial" panose="020B0604020202020204" pitchFamily="34" charset="0"/>
              <a:buNone/>
            </a:pPr>
            <a:endParaRPr lang="en-US"/>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17535524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fld id="{E98C02C0-98AB-4661-8FF3-2C79CAD8CBF9}" type="slidenum">
              <a:rPr lang="en-US">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35402162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Font typeface="+mj-lt"/>
              <a:buAutoNum type="arabicPeriod"/>
            </a:pPr>
            <a:r>
              <a:rPr lang="en-US" sz="1100">
                <a:effectLst/>
                <a:latin typeface="Calibri" panose="020F0502020204030204" pitchFamily="34" charset="0"/>
                <a:ea typeface="Calibri" panose="020F0502020204030204" pitchFamily="34" charset="0"/>
                <a:cs typeface="Times New Roman" panose="02020603050405020304" pitchFamily="18" charset="0"/>
              </a:rPr>
              <a:t>The EPM that nominates the engagement for Azure Migration Assistance gathers info and completes a one-pager for the engagement such as the one found here. </a:t>
            </a:r>
          </a:p>
          <a:p>
            <a:pPr marL="342900" marR="0" lvl="0" indent="-342900">
              <a:spcBef>
                <a:spcPts val="0"/>
              </a:spcBef>
              <a:spcAft>
                <a:spcPts val="0"/>
              </a:spcAft>
              <a:buFont typeface="+mj-lt"/>
              <a:buAutoNum type="arabicPeriod"/>
            </a:pPr>
            <a:r>
              <a:rPr lang="en-US" sz="1100">
                <a:effectLst/>
                <a:latin typeface="Calibri" panose="020F0502020204030204" pitchFamily="34" charset="0"/>
                <a:ea typeface="Calibri" panose="020F0502020204030204" pitchFamily="34" charset="0"/>
                <a:cs typeface="Times New Roman" panose="02020603050405020304" pitchFamily="18" charset="0"/>
              </a:rPr>
              <a:t>The Account team raises a request via Unified Action Tracker (UAT) and assigns to a distribution list for Azure Migration Assistance. </a:t>
            </a:r>
            <a:endParaRPr lang="en-US" sz="1100">
              <a:effectLst/>
              <a:latin typeface="Calibri" panose="020F0502020204030204" pitchFamily="34" charset="0"/>
              <a:ea typeface="Calibri" panose="020F0502020204030204" pitchFamily="34" charset="0"/>
            </a:endParaRPr>
          </a:p>
          <a:p>
            <a:pPr marL="742950" marR="0" lvl="1" indent="-285750">
              <a:spcBef>
                <a:spcPts val="0"/>
              </a:spcBef>
              <a:spcAft>
                <a:spcPts val="0"/>
              </a:spcAft>
              <a:buFont typeface="Courier New" panose="02070309020205020404" pitchFamily="49" charset="0"/>
              <a:buChar char="o"/>
            </a:pPr>
            <a:r>
              <a:rPr lang="en-US" sz="1100" u="sng">
                <a:effectLst/>
                <a:latin typeface="Calibri" panose="020F0502020204030204" pitchFamily="34" charset="0"/>
                <a:ea typeface="Calibri" panose="020F0502020204030204" pitchFamily="34" charset="0"/>
                <a:cs typeface="Times New Roman" panose="02020603050405020304" pitchFamily="18" charset="0"/>
              </a:rPr>
              <a:t>Decision needed:</a:t>
            </a:r>
            <a:r>
              <a:rPr lang="en-US" sz="1100">
                <a:effectLst/>
                <a:latin typeface="Calibri" panose="020F0502020204030204" pitchFamily="34" charset="0"/>
                <a:ea typeface="Calibri" panose="020F0502020204030204" pitchFamily="34" charset="0"/>
                <a:cs typeface="Times New Roman" panose="02020603050405020304" pitchFamily="18" charset="0"/>
              </a:rPr>
              <a:t>  who should be on the distro list? </a:t>
            </a:r>
            <a:endParaRPr lang="en-US" sz="11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eriod"/>
            </a:pPr>
            <a:r>
              <a:rPr lang="en-US" sz="1100">
                <a:effectLst/>
                <a:latin typeface="Calibri" panose="020F0502020204030204" pitchFamily="34" charset="0"/>
                <a:ea typeface="Calibri" panose="020F0502020204030204" pitchFamily="34" charset="0"/>
                <a:cs typeface="Times New Roman" panose="02020603050405020304" pitchFamily="18" charset="0"/>
              </a:rPr>
              <a:t>Once the UAT ticket has been created and assigned to the distro, the people on the distro will see an email notification. I will primarily be responsible for monitoring the UAT issues coming in along with any help from Lone as a backup if needed. </a:t>
            </a:r>
            <a:endParaRPr lang="en-US" sz="11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eriod"/>
            </a:pPr>
            <a:r>
              <a:rPr lang="en-US" sz="1100">
                <a:effectLst/>
                <a:latin typeface="Calibri" panose="020F0502020204030204" pitchFamily="34" charset="0"/>
                <a:ea typeface="Calibri" panose="020F0502020204030204" pitchFamily="34" charset="0"/>
                <a:cs typeface="Times New Roman" panose="02020603050405020304" pitchFamily="18" charset="0"/>
              </a:rPr>
              <a:t>We then tag each request with Azure Migration Assistance so we can easily separate these from other Scrum requests. </a:t>
            </a:r>
            <a:endParaRPr lang="en-US" sz="1100">
              <a:effectLst/>
              <a:latin typeface="Calibri" panose="020F0502020204030204" pitchFamily="34" charset="0"/>
              <a:ea typeface="Calibri" panose="020F0502020204030204" pitchFamily="34" charset="0"/>
            </a:endParaRPr>
          </a:p>
          <a:p>
            <a:pPr marL="742950" marR="0" lvl="1" indent="-285750">
              <a:spcBef>
                <a:spcPts val="0"/>
              </a:spcBef>
              <a:spcAft>
                <a:spcPts val="0"/>
              </a:spcAft>
              <a:buFont typeface="Courier New" panose="02070309020205020404" pitchFamily="49" charset="0"/>
              <a:buChar char="o"/>
            </a:pPr>
            <a:r>
              <a:rPr lang="en-US" sz="1100" u="sng">
                <a:effectLst/>
                <a:latin typeface="Calibri" panose="020F0502020204030204" pitchFamily="34" charset="0"/>
                <a:ea typeface="Calibri" panose="020F0502020204030204" pitchFamily="34" charset="0"/>
                <a:cs typeface="Times New Roman" panose="02020603050405020304" pitchFamily="18" charset="0"/>
              </a:rPr>
              <a:t>Decision needed:</a:t>
            </a:r>
            <a:r>
              <a:rPr lang="en-US" sz="1100">
                <a:effectLst/>
                <a:latin typeface="Calibri" panose="020F0502020204030204" pitchFamily="34" charset="0"/>
                <a:ea typeface="Calibri" panose="020F0502020204030204" pitchFamily="34" charset="0"/>
                <a:cs typeface="Times New Roman" panose="02020603050405020304" pitchFamily="18" charset="0"/>
              </a:rPr>
              <a:t>  confirm we should use Azure Migration Assistance as the tag. </a:t>
            </a:r>
            <a:endParaRPr lang="en-US" sz="11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eriod"/>
            </a:pPr>
            <a:r>
              <a:rPr lang="en-US" sz="1100">
                <a:effectLst/>
                <a:latin typeface="Calibri" panose="020F0502020204030204" pitchFamily="34" charset="0"/>
                <a:ea typeface="Calibri" panose="020F0502020204030204" pitchFamily="34" charset="0"/>
                <a:cs typeface="Times New Roman" panose="02020603050405020304" pitchFamily="18" charset="0"/>
              </a:rPr>
              <a:t>The request can then be reassigned to the owner that will be assigned to help unblock based on decision in this forum. </a:t>
            </a:r>
            <a:endParaRPr lang="en-US" sz="11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eriod"/>
            </a:pPr>
            <a:r>
              <a:rPr lang="en-US" sz="1100">
                <a:effectLst/>
                <a:latin typeface="Calibri" panose="020F0502020204030204" pitchFamily="34" charset="0"/>
                <a:ea typeface="Calibri" panose="020F0502020204030204" pitchFamily="34" charset="0"/>
                <a:cs typeface="Times New Roman" panose="02020603050405020304" pitchFamily="18" charset="0"/>
              </a:rPr>
              <a:t>A view in </a:t>
            </a:r>
            <a:r>
              <a:rPr lang="en-US" sz="1100" err="1">
                <a:effectLst/>
                <a:latin typeface="Calibri" panose="020F0502020204030204" pitchFamily="34" charset="0"/>
                <a:ea typeface="Calibri" panose="020F0502020204030204" pitchFamily="34" charset="0"/>
                <a:cs typeface="Times New Roman" panose="02020603050405020304" pitchFamily="18" charset="0"/>
              </a:rPr>
              <a:t>MSXi</a:t>
            </a:r>
            <a:r>
              <a:rPr lang="en-US" sz="1100">
                <a:effectLst/>
                <a:latin typeface="Calibri" panose="020F0502020204030204" pitchFamily="34" charset="0"/>
                <a:ea typeface="Calibri" panose="020F0502020204030204" pitchFamily="34" charset="0"/>
                <a:cs typeface="Times New Roman" panose="02020603050405020304" pitchFamily="18" charset="0"/>
              </a:rPr>
              <a:t> Dashboard can be created based on the tag which we can use to review the status or send email status updates using this view.  </a:t>
            </a:r>
            <a:endParaRPr lang="en-US" sz="1100">
              <a:effectLst/>
              <a:latin typeface="Calibri" panose="020F0502020204030204" pitchFamily="34" charset="0"/>
              <a:ea typeface="Calibri" panose="020F0502020204030204" pitchFamily="34" charset="0"/>
            </a:endParaRPr>
          </a:p>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9593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b="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4/2021 4:5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324371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Font typeface="+mj-lt"/>
              <a:buAutoNum type="arabicPeriod"/>
            </a:pPr>
            <a:r>
              <a:rPr lang="en-US" sz="1100">
                <a:effectLst/>
                <a:latin typeface="Calibri" panose="020F0502020204030204" pitchFamily="34" charset="0"/>
                <a:ea typeface="Calibri" panose="020F0502020204030204" pitchFamily="34" charset="0"/>
                <a:cs typeface="Times New Roman" panose="02020603050405020304" pitchFamily="18" charset="0"/>
              </a:rPr>
              <a:t>The EPM that nominates the engagement for Azure Migration Assistance gathers info and completes a one-pager for the engagement such as the one found here. </a:t>
            </a:r>
          </a:p>
          <a:p>
            <a:pPr marL="342900" marR="0" lvl="0" indent="-342900">
              <a:spcBef>
                <a:spcPts val="0"/>
              </a:spcBef>
              <a:spcAft>
                <a:spcPts val="0"/>
              </a:spcAft>
              <a:buFont typeface="+mj-lt"/>
              <a:buAutoNum type="arabicPeriod"/>
            </a:pPr>
            <a:r>
              <a:rPr lang="en-US" sz="1100">
                <a:effectLst/>
                <a:latin typeface="Calibri" panose="020F0502020204030204" pitchFamily="34" charset="0"/>
                <a:ea typeface="Calibri" panose="020F0502020204030204" pitchFamily="34" charset="0"/>
                <a:cs typeface="Times New Roman" panose="02020603050405020304" pitchFamily="18" charset="0"/>
              </a:rPr>
              <a:t>The Account team raises a request via Unified Action Tracker (UAT) and assigns to a distribution list for Azure Migration Assistance. </a:t>
            </a:r>
            <a:endParaRPr lang="en-US" sz="1100">
              <a:effectLst/>
              <a:latin typeface="Calibri" panose="020F0502020204030204" pitchFamily="34" charset="0"/>
              <a:ea typeface="Calibri" panose="020F0502020204030204" pitchFamily="34" charset="0"/>
            </a:endParaRPr>
          </a:p>
          <a:p>
            <a:pPr marL="742950" marR="0" lvl="1" indent="-285750">
              <a:spcBef>
                <a:spcPts val="0"/>
              </a:spcBef>
              <a:spcAft>
                <a:spcPts val="0"/>
              </a:spcAft>
              <a:buFont typeface="Courier New" panose="02070309020205020404" pitchFamily="49" charset="0"/>
              <a:buChar char="o"/>
            </a:pPr>
            <a:r>
              <a:rPr lang="en-US" sz="1100" u="sng">
                <a:effectLst/>
                <a:latin typeface="Calibri" panose="020F0502020204030204" pitchFamily="34" charset="0"/>
                <a:ea typeface="Calibri" panose="020F0502020204030204" pitchFamily="34" charset="0"/>
                <a:cs typeface="Times New Roman" panose="02020603050405020304" pitchFamily="18" charset="0"/>
              </a:rPr>
              <a:t>Decision needed:</a:t>
            </a:r>
            <a:r>
              <a:rPr lang="en-US" sz="1100">
                <a:effectLst/>
                <a:latin typeface="Calibri" panose="020F0502020204030204" pitchFamily="34" charset="0"/>
                <a:ea typeface="Calibri" panose="020F0502020204030204" pitchFamily="34" charset="0"/>
                <a:cs typeface="Times New Roman" panose="02020603050405020304" pitchFamily="18" charset="0"/>
              </a:rPr>
              <a:t>  who should be on the distro list? </a:t>
            </a:r>
            <a:endParaRPr lang="en-US" sz="11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eriod"/>
            </a:pPr>
            <a:r>
              <a:rPr lang="en-US" sz="1100">
                <a:effectLst/>
                <a:latin typeface="Calibri" panose="020F0502020204030204" pitchFamily="34" charset="0"/>
                <a:ea typeface="Calibri" panose="020F0502020204030204" pitchFamily="34" charset="0"/>
                <a:cs typeface="Times New Roman" panose="02020603050405020304" pitchFamily="18" charset="0"/>
              </a:rPr>
              <a:t>Once the UAT ticket has been created and assigned to the distro, the people on the distro will see an email notification. I will primarily be responsible for monitoring the UAT issues coming in along with any help from Lone as a backup if needed. </a:t>
            </a:r>
            <a:endParaRPr lang="en-US" sz="11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eriod"/>
            </a:pPr>
            <a:r>
              <a:rPr lang="en-US" sz="1100">
                <a:effectLst/>
                <a:latin typeface="Calibri" panose="020F0502020204030204" pitchFamily="34" charset="0"/>
                <a:ea typeface="Calibri" panose="020F0502020204030204" pitchFamily="34" charset="0"/>
                <a:cs typeface="Times New Roman" panose="02020603050405020304" pitchFamily="18" charset="0"/>
              </a:rPr>
              <a:t>We then tag each request with Azure Migration Assistance so we can easily separate these from other Scrum requests. </a:t>
            </a:r>
            <a:endParaRPr lang="en-US" sz="1100">
              <a:effectLst/>
              <a:latin typeface="Calibri" panose="020F0502020204030204" pitchFamily="34" charset="0"/>
              <a:ea typeface="Calibri" panose="020F0502020204030204" pitchFamily="34" charset="0"/>
            </a:endParaRPr>
          </a:p>
          <a:p>
            <a:pPr marL="742950" marR="0" lvl="1" indent="-285750">
              <a:spcBef>
                <a:spcPts val="0"/>
              </a:spcBef>
              <a:spcAft>
                <a:spcPts val="0"/>
              </a:spcAft>
              <a:buFont typeface="Courier New" panose="02070309020205020404" pitchFamily="49" charset="0"/>
              <a:buChar char="o"/>
            </a:pPr>
            <a:r>
              <a:rPr lang="en-US" sz="1100" u="sng">
                <a:effectLst/>
                <a:latin typeface="Calibri" panose="020F0502020204030204" pitchFamily="34" charset="0"/>
                <a:ea typeface="Calibri" panose="020F0502020204030204" pitchFamily="34" charset="0"/>
                <a:cs typeface="Times New Roman" panose="02020603050405020304" pitchFamily="18" charset="0"/>
              </a:rPr>
              <a:t>Decision needed:</a:t>
            </a:r>
            <a:r>
              <a:rPr lang="en-US" sz="1100">
                <a:effectLst/>
                <a:latin typeface="Calibri" panose="020F0502020204030204" pitchFamily="34" charset="0"/>
                <a:ea typeface="Calibri" panose="020F0502020204030204" pitchFamily="34" charset="0"/>
                <a:cs typeface="Times New Roman" panose="02020603050405020304" pitchFamily="18" charset="0"/>
              </a:rPr>
              <a:t>  confirm we should use Azure Migration Assistance as the tag. </a:t>
            </a:r>
            <a:endParaRPr lang="en-US" sz="11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eriod"/>
            </a:pPr>
            <a:r>
              <a:rPr lang="en-US" sz="1100">
                <a:effectLst/>
                <a:latin typeface="Calibri" panose="020F0502020204030204" pitchFamily="34" charset="0"/>
                <a:ea typeface="Calibri" panose="020F0502020204030204" pitchFamily="34" charset="0"/>
                <a:cs typeface="Times New Roman" panose="02020603050405020304" pitchFamily="18" charset="0"/>
              </a:rPr>
              <a:t>The request can then be reassigned to the owner that will be assigned to help unblock based on decision in this forum. </a:t>
            </a:r>
            <a:endParaRPr lang="en-US" sz="11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eriod"/>
            </a:pPr>
            <a:r>
              <a:rPr lang="en-US" sz="1100">
                <a:effectLst/>
                <a:latin typeface="Calibri" panose="020F0502020204030204" pitchFamily="34" charset="0"/>
                <a:ea typeface="Calibri" panose="020F0502020204030204" pitchFamily="34" charset="0"/>
                <a:cs typeface="Times New Roman" panose="02020603050405020304" pitchFamily="18" charset="0"/>
              </a:rPr>
              <a:t>A view in </a:t>
            </a:r>
            <a:r>
              <a:rPr lang="en-US" sz="1100" err="1">
                <a:effectLst/>
                <a:latin typeface="Calibri" panose="020F0502020204030204" pitchFamily="34" charset="0"/>
                <a:ea typeface="Calibri" panose="020F0502020204030204" pitchFamily="34" charset="0"/>
                <a:cs typeface="Times New Roman" panose="02020603050405020304" pitchFamily="18" charset="0"/>
              </a:rPr>
              <a:t>MSXi</a:t>
            </a:r>
            <a:r>
              <a:rPr lang="en-US" sz="1100">
                <a:effectLst/>
                <a:latin typeface="Calibri" panose="020F0502020204030204" pitchFamily="34" charset="0"/>
                <a:ea typeface="Calibri" panose="020F0502020204030204" pitchFamily="34" charset="0"/>
                <a:cs typeface="Times New Roman" panose="02020603050405020304" pitchFamily="18" charset="0"/>
              </a:rPr>
              <a:t> Dashboard can be created based on the tag which we can use to review the status or send email status updates using this view.  </a:t>
            </a:r>
            <a:endParaRPr lang="en-US" sz="1100">
              <a:effectLst/>
              <a:latin typeface="Calibri" panose="020F0502020204030204" pitchFamily="34" charset="0"/>
              <a:ea typeface="Calibri" panose="020F0502020204030204" pitchFamily="34" charset="0"/>
            </a:endParaRPr>
          </a:p>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9593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tails on mobile BI (SSRS </a:t>
            </a:r>
            <a:r>
              <a:rPr lang="en-US" err="1"/>
              <a:t>Datazen</a:t>
            </a:r>
            <a:r>
              <a:rPr lang="en-US"/>
              <a:t> still supported etc.)</a:t>
            </a:r>
          </a:p>
          <a:p>
            <a:r>
              <a:rPr lang="en-US"/>
              <a:t>Discussion of features of Power BI Service that aren’t available in Power BI Report Server</a:t>
            </a:r>
          </a:p>
          <a:p>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mn-lt"/>
                <a:ea typeface="+mn-ea"/>
                <a:cs typeface="+mn-cs"/>
              </a:rPr>
              <a:t>Modern and Fixed polici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n-lt"/>
                <a:ea typeface="+mn-ea"/>
                <a:cs typeface="+mn-cs"/>
              </a:rPr>
              <a:t>https://support.microsoft.com/en-us/help/4014109/announcing-modern-and-fixed-policies</a:t>
            </a:r>
          </a:p>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83D7F55-63DF-4F9F-879D-13175104506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572530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Master" Target="../slideMasters/slideMaster6.xml"/><Relationship Id="rId4" Type="http://schemas.openxmlformats.org/officeDocument/2006/relationships/image" Target="../media/image37.jpe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6.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Master" Target="../slideMasters/slideMaster6.xml"/><Relationship Id="rId4" Type="http://schemas.openxmlformats.org/officeDocument/2006/relationships/image" Target="../media/image48.jpeg"/></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3.jpe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54.jp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7.emf"/><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7.emf"/><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image" Target="../media/image62.emf"/><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image" Target="../media/image62.emf"/><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jpeg"/><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70.jpe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70.jpe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58.pn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2.pn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3.png"/><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4.png"/><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6.xml"/><Relationship Id="rId5" Type="http://schemas.openxmlformats.org/officeDocument/2006/relationships/image" Target="../media/image21.png"/><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7.xml"/><Relationship Id="rId5" Type="http://schemas.openxmlformats.org/officeDocument/2006/relationships/image" Target="../media/image21.png"/><Relationship Id="rId4" Type="http://schemas.openxmlformats.org/officeDocument/2006/relationships/image" Target="../media/image1.emf"/></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Red Tile Titl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1"/>
            <a:ext cx="12192000" cy="6833937"/>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223347" y="230444"/>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0710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320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Microsoft Power BI Overview for IT Professionals</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276854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556"/>
            <a:ext cx="12185847" cy="6855511"/>
          </a:xfrm>
          <a:prstGeom prst="rect">
            <a:avLst/>
          </a:prstGeom>
          <a:noFill/>
          <a:ln>
            <a:noFill/>
          </a:ln>
        </p:spPr>
      </p:pic>
      <p:sp>
        <p:nvSpPr>
          <p:cNvPr id="3" name="Rectangle 2"/>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
        <p:nvSpPr>
          <p:cNvPr id="9" name="Rectangle 8"/>
          <p:cNvSpPr/>
          <p:nvPr userDrawn="1"/>
        </p:nvSpPr>
        <p:spPr>
          <a:xfrm>
            <a:off x="287977" y="2980725"/>
            <a:ext cx="4248056" cy="769511"/>
          </a:xfrm>
          <a:prstGeom prst="rect">
            <a:avLst/>
          </a:prstGeom>
        </p:spPr>
        <p:txBody>
          <a:bodyPr wrap="none" anchor="ctr">
            <a:spAutoFit/>
          </a:bodyPr>
          <a:lstStyle/>
          <a:p>
            <a:pPr algn="r" defTabSz="1142867">
              <a:lnSpc>
                <a:spcPct val="90000"/>
              </a:lnSpc>
              <a:spcBef>
                <a:spcPct val="0"/>
              </a:spcBef>
            </a:pPr>
            <a:r>
              <a:rPr lang="en-US" sz="4902" spc="-123">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userDrawn="1"/>
        </p:nvSpPr>
        <p:spPr>
          <a:xfrm>
            <a:off x="2393776" y="4527712"/>
            <a:ext cx="2142257" cy="701614"/>
          </a:xfrm>
          <a:prstGeom prst="rect">
            <a:avLst/>
          </a:prstGeom>
        </p:spPr>
        <p:txBody>
          <a:bodyPr wrap="none" anchor="ctr">
            <a:spAutoFit/>
          </a:bodyPr>
          <a:lstStyle/>
          <a:p>
            <a:pPr algn="r" defTabSz="1142867">
              <a:lnSpc>
                <a:spcPct val="90000"/>
              </a:lnSpc>
              <a:spcBef>
                <a:spcPct val="0"/>
              </a:spcBef>
            </a:pPr>
            <a:r>
              <a:rPr lang="en-US" sz="2206">
                <a:ln w="3175">
                  <a:noFill/>
                </a:ln>
                <a:gradFill>
                  <a:gsLst>
                    <a:gs pos="84066">
                      <a:srgbClr val="000000"/>
                    </a:gs>
                    <a:gs pos="57576">
                      <a:srgbClr val="000000"/>
                    </a:gs>
                  </a:gsLst>
                  <a:lin ang="5400000" scaled="0"/>
                </a:gradFill>
                <a:cs typeface="Segoe UI" pitchFamily="34" charset="0"/>
              </a:rPr>
              <a:t>May 4 – 8, 2015</a:t>
            </a:r>
            <a:br>
              <a:rPr lang="en-US" sz="2206">
                <a:ln w="3175">
                  <a:noFill/>
                </a:ln>
                <a:gradFill>
                  <a:gsLst>
                    <a:gs pos="84066">
                      <a:srgbClr val="000000"/>
                    </a:gs>
                    <a:gs pos="57576">
                      <a:srgbClr val="000000"/>
                    </a:gs>
                  </a:gsLst>
                  <a:lin ang="5400000" scaled="0"/>
                </a:gradFill>
                <a:cs typeface="Segoe UI" pitchFamily="34" charset="0"/>
              </a:rPr>
            </a:br>
            <a:r>
              <a:rPr lang="en-US" sz="2206">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63145" y="4008247"/>
            <a:ext cx="2445282" cy="377435"/>
          </a:xfrm>
          <a:prstGeom prst="rect">
            <a:avLst/>
          </a:prstGeom>
        </p:spPr>
      </p:pic>
    </p:spTree>
    <p:extLst>
      <p:ext uri="{BB962C8B-B14F-4D97-AF65-F5344CB8AC3E}">
        <p14:creationId xmlns:p14="http://schemas.microsoft.com/office/powerpoint/2010/main" val="3866694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13668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409915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4194048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405080470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50911778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70710130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405963190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63667557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657076504"/>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29223462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9" name="Title 1"/>
          <p:cNvSpPr>
            <a:spLocks noGrp="1"/>
          </p:cNvSpPr>
          <p:nvPr>
            <p:ph type="title" hasCustomPrompt="1"/>
          </p:nvPr>
        </p:nvSpPr>
        <p:spPr>
          <a:xfrm>
            <a:off x="269302" y="2084186"/>
            <a:ext cx="8964185" cy="1793090"/>
          </a:xfrm>
          <a:noFill/>
        </p:spPr>
        <p:txBody>
          <a:bodyPr lIns="146304" tIns="91440" rIns="146304" bIns="91440" anchor="t" anchorCtr="0"/>
          <a:lstStyle>
            <a:lvl1pPr>
              <a:defRPr sz="5293" spc="-98" baseline="0">
                <a:gradFill>
                  <a:gsLst>
                    <a:gs pos="99115">
                      <a:schemeClr val="tx1"/>
                    </a:gs>
                    <a:gs pos="79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3"/>
            <a:ext cx="7171337" cy="1792326"/>
          </a:xfrm>
          <a:noFill/>
        </p:spPr>
        <p:txBody>
          <a:bodyPr lIns="146304" tIns="109728" rIns="146304" bIns="109728">
            <a:noAutofit/>
          </a:bodyPr>
          <a:lstStyle>
            <a:lvl1pPr marL="0" indent="0">
              <a:spcBef>
                <a:spcPts val="0"/>
              </a:spcBef>
              <a:buNone/>
              <a:defRPr sz="3137" spc="0" baseline="0">
                <a:gradFill>
                  <a:gsLst>
                    <a:gs pos="99115">
                      <a:schemeClr val="tx1"/>
                    </a:gs>
                    <a:gs pos="79000">
                      <a:schemeClr val="tx1"/>
                    </a:gs>
                  </a:gsLst>
                  <a:lin ang="5400000" scaled="0"/>
                </a:gradFill>
                <a:latin typeface="+mj-lt"/>
              </a:defRPr>
            </a:lvl1pPr>
          </a:lstStyle>
          <a:p>
            <a:pPr lvl="0"/>
            <a:r>
              <a:rPr lang="en-US"/>
              <a:t>Speaker Name</a:t>
            </a:r>
          </a:p>
        </p:txBody>
      </p:sp>
      <p:sp>
        <p:nvSpPr>
          <p:cNvPr id="7" name="Rectangle 6"/>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15225978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194660651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26743180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406500900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165547298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361861692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901946363"/>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31254703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619055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4802851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105067730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3473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67615684"/>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359645725"/>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928735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8235484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22206583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749290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205290022"/>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13110055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112116457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16692686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971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01699523"/>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164340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5994" y="1817560"/>
            <a:ext cx="11231768" cy="14216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723C657-0E57-4642-9C36-947A094A119C}" type="datetimeFigureOut">
              <a:rPr lang="en-US" smtClean="0"/>
              <a:t>6/1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FE84ADE-7E80-4162-81BE-0B9296854F87}" type="slidenum">
              <a:rPr lang="en-US" smtClean="0"/>
              <a:t>‹#›</a:t>
            </a:fld>
            <a:endParaRPr lang="en-US"/>
          </a:p>
        </p:txBody>
      </p:sp>
    </p:spTree>
    <p:extLst>
      <p:ext uri="{BB962C8B-B14F-4D97-AF65-F5344CB8AC3E}">
        <p14:creationId xmlns:p14="http://schemas.microsoft.com/office/powerpoint/2010/main" val="280779042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1" y="0"/>
            <a:ext cx="6858000" cy="6858000"/>
          </a:xfrm>
          <a:prstGeom prst="rect">
            <a:avLst/>
          </a:prstGeom>
        </p:spPr>
      </p:pic>
    </p:spTree>
    <p:extLst>
      <p:ext uri="{BB962C8B-B14F-4D97-AF65-F5344CB8AC3E}">
        <p14:creationId xmlns:p14="http://schemas.microsoft.com/office/powerpoint/2010/main" val="1581786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pic>
        <p:nvPicPr>
          <p:cNvPr id="8" name="Picture 7" descr="A group of people looking at a computer&#10;&#10;Description generated with very high confidence">
            <a:extLst>
              <a:ext uri="{FF2B5EF4-FFF2-40B4-BE49-F238E27FC236}">
                <a16:creationId xmlns:a16="http://schemas.microsoft.com/office/drawing/2014/main" id="{1285F101-84E7-425B-BE07-D20731937218}"/>
              </a:ext>
            </a:extLst>
          </p:cNvPr>
          <p:cNvPicPr>
            <a:picLocks noChangeAspect="1"/>
          </p:cNvPicPr>
          <p:nvPr userDrawn="1"/>
        </p:nvPicPr>
        <p:blipFill rotWithShape="1">
          <a:blip r:embed="rId3"/>
          <a:srcRect l="14560" r="18791"/>
          <a:stretch/>
        </p:blipFill>
        <p:spPr bwMode="auto">
          <a:xfrm>
            <a:off x="5334001" y="0"/>
            <a:ext cx="6858000" cy="6858000"/>
          </a:xfrm>
          <a:prstGeom prst="rect">
            <a:avLst/>
          </a:prstGeom>
        </p:spPr>
      </p:pic>
    </p:spTree>
    <p:extLst>
      <p:ext uri="{BB962C8B-B14F-4D97-AF65-F5344CB8AC3E}">
        <p14:creationId xmlns:p14="http://schemas.microsoft.com/office/powerpoint/2010/main" val="2995126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565194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04212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792488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081028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Illustration 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584200" y="1463040"/>
            <a:ext cx="10438606" cy="480599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1170432" y="3439319"/>
            <a:ext cx="4925568" cy="307777"/>
          </a:xfrm>
          <a:noFill/>
        </p:spPr>
        <p:txBody>
          <a:bodyPr wrap="square" lIns="0" tIns="0" rIns="0" bIns="0">
            <a:spAutoFit/>
          </a:bodyPr>
          <a:lstStyle>
            <a:lvl1pPr marL="0" indent="0">
              <a:spcBef>
                <a:spcPts val="0"/>
              </a:spcBef>
              <a:buNone/>
              <a:defRPr sz="20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70701" y="387852"/>
            <a:ext cx="4407422" cy="6469664"/>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1171100" y="1927625"/>
            <a:ext cx="4922520" cy="1107996"/>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78128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0087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16959485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rvice/Feature templa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69"/>
            <a:ext cx="4133088" cy="898708"/>
          </a:xfrm>
        </p:spPr>
        <p:txBody>
          <a:bodyPr wrap="square">
            <a:spAutoFit/>
          </a:bodyPr>
          <a:lstStyle>
            <a:lvl1pPr marL="0" indent="0">
              <a:spcBef>
                <a:spcPts val="600"/>
              </a:spcBef>
              <a:buNone/>
              <a:defRPr sz="2000">
                <a:latin typeface="+mj-lt"/>
              </a:defRPr>
            </a:lvl1pPr>
            <a:lvl2pPr marL="0" indent="0">
              <a:buNone/>
              <a:defRPr sz="1800"/>
            </a:lvl2pPr>
            <a:lvl3pPr marL="171450" indent="-171450">
              <a:buFont typeface="Arial" panose="020B0604020202020204" pitchFamily="34" charset="0"/>
              <a:buChar char="•"/>
              <a:defRPr sz="1400"/>
            </a:lvl3pPr>
            <a:lvl4pPr marL="0" indent="0">
              <a:buNone/>
              <a:defRPr sz="1100"/>
            </a:lvl4pPr>
            <a:lvl5pPr marL="0" indent="0">
              <a:buNone/>
              <a:defRPr sz="1100"/>
            </a:lvl5pPr>
          </a:lstStyle>
          <a:p>
            <a:pPr lvl="0"/>
            <a:r>
              <a:rPr lang="en-US" dirty="0"/>
              <a:t>Edit Master text styles</a:t>
            </a:r>
          </a:p>
          <a:p>
            <a:pPr lvl="1"/>
            <a:r>
              <a:rPr lang="en-US" dirty="0"/>
              <a:t>Second level</a:t>
            </a:r>
          </a:p>
          <a:p>
            <a:pPr lvl="2"/>
            <a:r>
              <a:rPr lang="en-US" dirty="0"/>
              <a:t>Third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8241412" cy="553998"/>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1116DD-3526-41D4-BCBC-722B828D751F}"/>
              </a:ext>
            </a:extLst>
          </p:cNvPr>
          <p:cNvSpPr>
            <a:spLocks noGrp="1"/>
          </p:cNvSpPr>
          <p:nvPr>
            <p:ph type="body" sz="quarter" idx="11" hasCustomPrompt="1"/>
          </p:nvPr>
        </p:nvSpPr>
        <p:spPr>
          <a:xfrm>
            <a:off x="10010775" y="474595"/>
            <a:ext cx="1887538" cy="738664"/>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dirty="0"/>
              <a:t>Preview</a:t>
            </a:r>
          </a:p>
          <a:p>
            <a:pPr marL="0" lvl="0"/>
            <a:r>
              <a:rPr lang="en-US" dirty="0"/>
              <a:t>Release</a:t>
            </a:r>
          </a:p>
          <a:p>
            <a:pPr marL="0" lvl="0"/>
            <a:r>
              <a:rPr lang="en-US" dirty="0"/>
              <a:t>Date</a:t>
            </a:r>
          </a:p>
        </p:txBody>
      </p:sp>
    </p:spTree>
    <p:extLst>
      <p:ext uri="{BB962C8B-B14F-4D97-AF65-F5344CB8AC3E}">
        <p14:creationId xmlns:p14="http://schemas.microsoft.com/office/powerpoint/2010/main" val="16026763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21613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834597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90980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06928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69425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58671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191867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4">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3040736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4597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4">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96824098"/>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4">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614555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237670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321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0591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814439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187519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642594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4" name="MS logo white - EMF">
            <a:extLst>
              <a:ext uri="{FF2B5EF4-FFF2-40B4-BE49-F238E27FC236}">
                <a16:creationId xmlns:a16="http://schemas.microsoft.com/office/drawing/2014/main" id="{37E26AFE-DE6D-4BB8-BFA8-71844F8CF039}"/>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221268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defTabSz="914192"/>
            <a:r>
              <a:rPr lang="en-US">
                <a:solidFill>
                  <a:srgbClr val="FFFFFF">
                    <a:lumMod val="65000"/>
                  </a:srgbClr>
                </a:solidFill>
              </a:rPr>
              <a:t>© Microsoft Corporation                                                                                  								                                Azure </a:t>
            </a:r>
          </a:p>
        </p:txBody>
      </p:sp>
    </p:spTree>
    <p:extLst>
      <p:ext uri="{BB962C8B-B14F-4D97-AF65-F5344CB8AC3E}">
        <p14:creationId xmlns:p14="http://schemas.microsoft.com/office/powerpoint/2010/main" val="341364649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1026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00630047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69722157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81164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281505" y="1857226"/>
            <a:ext cx="2194560" cy="855619"/>
          </a:xfrm>
        </p:spPr>
        <p:txBody>
          <a:bodyPr/>
          <a:lstStyle>
            <a:lvl1pPr marL="0" indent="0" algn="ctr">
              <a:buNone/>
              <a:defRPr sz="1400" b="1">
                <a:solidFill>
                  <a:srgbClr val="0078D4"/>
                </a:solidFill>
              </a:defRPr>
            </a:lvl1pPr>
            <a:lvl2pPr marL="0" indent="0" algn="ctr">
              <a:buNone/>
              <a:defRPr sz="1200">
                <a:solidFill>
                  <a:srgbClr val="0078D4"/>
                </a:solidFill>
              </a:defRPr>
            </a:lvl2pPr>
            <a:lvl3pPr marL="0" indent="0" algn="ctr">
              <a:buNone/>
              <a:defRPr sz="105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2615710" y="1857226"/>
            <a:ext cx="2194560" cy="855619"/>
          </a:xfrm>
        </p:spPr>
        <p:txBody>
          <a:bodyPr/>
          <a:lstStyle>
            <a:lvl1pPr marL="0" indent="0" algn="ctr">
              <a:buNone/>
              <a:defRPr sz="1400" b="1">
                <a:solidFill>
                  <a:srgbClr val="0078D4"/>
                </a:solidFill>
              </a:defRPr>
            </a:lvl1pPr>
            <a:lvl2pPr marL="0" indent="0" algn="ctr">
              <a:buNone/>
              <a:defRPr sz="1200">
                <a:solidFill>
                  <a:srgbClr val="0078D4"/>
                </a:solidFill>
              </a:defRPr>
            </a:lvl2pPr>
            <a:lvl3pPr marL="0" indent="0" algn="ctr">
              <a:buNone/>
              <a:defRPr sz="1050">
                <a:solidFill>
                  <a:srgbClr val="0078D4"/>
                </a:solidFill>
              </a:defRPr>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4949915" y="1857226"/>
            <a:ext cx="2194560" cy="855619"/>
          </a:xfrm>
        </p:spPr>
        <p:txBody>
          <a:bodyPr/>
          <a:lstStyle>
            <a:lvl1pPr marL="0" indent="0" algn="ctr">
              <a:buNone/>
              <a:defRPr sz="1400" b="1">
                <a:solidFill>
                  <a:srgbClr val="0078D4"/>
                </a:solidFill>
              </a:defRPr>
            </a:lvl1pPr>
            <a:lvl2pPr marL="0" indent="0" algn="ctr">
              <a:buNone/>
              <a:defRPr sz="1200">
                <a:solidFill>
                  <a:srgbClr val="0078D4"/>
                </a:solidFill>
              </a:defRPr>
            </a:lvl2pPr>
            <a:lvl3pPr marL="0" indent="0" algn="ctr">
              <a:buNone/>
              <a:defRPr sz="105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EF08950C-6DE8-4C00-B295-6581ECC340D6}"/>
              </a:ext>
            </a:extLst>
          </p:cNvPr>
          <p:cNvSpPr>
            <a:spLocks noGrp="1"/>
          </p:cNvSpPr>
          <p:nvPr>
            <p:ph type="body" sz="quarter" idx="14"/>
          </p:nvPr>
        </p:nvSpPr>
        <p:spPr>
          <a:xfrm>
            <a:off x="281505" y="4544783"/>
            <a:ext cx="2194560" cy="492443"/>
          </a:xfrm>
        </p:spPr>
        <p:txBody>
          <a:bodyPr/>
          <a:lstStyle>
            <a:lvl1pPr marL="0" indent="0" algn="ctr">
              <a:spcAft>
                <a:spcPts val="600"/>
              </a:spcAft>
              <a:buNone/>
              <a:defRPr sz="16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
        <p:nvSpPr>
          <p:cNvPr id="9" name="Text Placeholder 4">
            <a:extLst>
              <a:ext uri="{FF2B5EF4-FFF2-40B4-BE49-F238E27FC236}">
                <a16:creationId xmlns:a16="http://schemas.microsoft.com/office/drawing/2014/main" id="{6D624B7C-7ABB-44CA-BF48-65CA0629A5A4}"/>
              </a:ext>
            </a:extLst>
          </p:cNvPr>
          <p:cNvSpPr>
            <a:spLocks noGrp="1"/>
          </p:cNvSpPr>
          <p:nvPr>
            <p:ph type="body" sz="quarter" idx="15"/>
          </p:nvPr>
        </p:nvSpPr>
        <p:spPr>
          <a:xfrm>
            <a:off x="2683868" y="4544783"/>
            <a:ext cx="2194560" cy="492443"/>
          </a:xfrm>
        </p:spPr>
        <p:txBody>
          <a:bodyPr/>
          <a:lstStyle>
            <a:lvl1pPr marL="0" indent="0" algn="ctr">
              <a:spcAft>
                <a:spcPts val="600"/>
              </a:spcAft>
              <a:buNone/>
              <a:defRPr sz="16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
        <p:nvSpPr>
          <p:cNvPr id="10" name="Text Placeholder 4">
            <a:extLst>
              <a:ext uri="{FF2B5EF4-FFF2-40B4-BE49-F238E27FC236}">
                <a16:creationId xmlns:a16="http://schemas.microsoft.com/office/drawing/2014/main" id="{E9575C75-3C17-43C3-84AF-A93B42395B8F}"/>
              </a:ext>
            </a:extLst>
          </p:cNvPr>
          <p:cNvSpPr>
            <a:spLocks noGrp="1"/>
          </p:cNvSpPr>
          <p:nvPr>
            <p:ph type="body" sz="quarter" idx="16"/>
          </p:nvPr>
        </p:nvSpPr>
        <p:spPr>
          <a:xfrm>
            <a:off x="5086231" y="4544783"/>
            <a:ext cx="2194560" cy="492443"/>
          </a:xfrm>
        </p:spPr>
        <p:txBody>
          <a:bodyPr/>
          <a:lstStyle>
            <a:lvl1pPr marL="0" indent="0" algn="ctr">
              <a:spcAft>
                <a:spcPts val="600"/>
              </a:spcAft>
              <a:buNone/>
              <a:defRPr sz="16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
        <p:nvSpPr>
          <p:cNvPr id="11" name="Text Placeholder 4">
            <a:extLst>
              <a:ext uri="{FF2B5EF4-FFF2-40B4-BE49-F238E27FC236}">
                <a16:creationId xmlns:a16="http://schemas.microsoft.com/office/drawing/2014/main" id="{424D8784-5ED4-473A-BDCF-4677B366ED22}"/>
              </a:ext>
            </a:extLst>
          </p:cNvPr>
          <p:cNvSpPr>
            <a:spLocks noGrp="1"/>
          </p:cNvSpPr>
          <p:nvPr>
            <p:ph type="body" sz="quarter" idx="17"/>
          </p:nvPr>
        </p:nvSpPr>
        <p:spPr>
          <a:xfrm>
            <a:off x="7284120" y="1857226"/>
            <a:ext cx="2194560" cy="855619"/>
          </a:xfrm>
        </p:spPr>
        <p:txBody>
          <a:bodyPr/>
          <a:lstStyle>
            <a:lvl1pPr marL="0" indent="0" algn="ctr">
              <a:buNone/>
              <a:defRPr sz="1400" b="1">
                <a:solidFill>
                  <a:srgbClr val="0078D4"/>
                </a:solidFill>
              </a:defRPr>
            </a:lvl1pPr>
            <a:lvl2pPr marL="0" indent="0" algn="ctr">
              <a:buNone/>
              <a:defRPr sz="1200">
                <a:solidFill>
                  <a:srgbClr val="0078D4"/>
                </a:solidFill>
              </a:defRPr>
            </a:lvl2pPr>
            <a:lvl3pPr marL="0" indent="0" algn="ctr">
              <a:buNone/>
              <a:defRPr sz="105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12" name="Text Placeholder 4">
            <a:extLst>
              <a:ext uri="{FF2B5EF4-FFF2-40B4-BE49-F238E27FC236}">
                <a16:creationId xmlns:a16="http://schemas.microsoft.com/office/drawing/2014/main" id="{D11BF767-268A-4894-B84C-3EF7D7AB30E1}"/>
              </a:ext>
            </a:extLst>
          </p:cNvPr>
          <p:cNvSpPr>
            <a:spLocks noGrp="1"/>
          </p:cNvSpPr>
          <p:nvPr>
            <p:ph type="body" sz="quarter" idx="18"/>
          </p:nvPr>
        </p:nvSpPr>
        <p:spPr>
          <a:xfrm>
            <a:off x="7488594" y="4544783"/>
            <a:ext cx="2194560" cy="492443"/>
          </a:xfrm>
        </p:spPr>
        <p:txBody>
          <a:bodyPr/>
          <a:lstStyle>
            <a:lvl1pPr marL="0" indent="0" algn="ctr">
              <a:spcAft>
                <a:spcPts val="600"/>
              </a:spcAft>
              <a:buNone/>
              <a:defRPr sz="16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
        <p:nvSpPr>
          <p:cNvPr id="13" name="Text Placeholder 3">
            <a:extLst>
              <a:ext uri="{FF2B5EF4-FFF2-40B4-BE49-F238E27FC236}">
                <a16:creationId xmlns:a16="http://schemas.microsoft.com/office/drawing/2014/main" id="{1D32C240-CCEA-40E3-9681-936002399AEB}"/>
              </a:ext>
            </a:extLst>
          </p:cNvPr>
          <p:cNvSpPr>
            <a:spLocks noGrp="1"/>
          </p:cNvSpPr>
          <p:nvPr>
            <p:ph type="body" sz="quarter" idx="10"/>
          </p:nvPr>
        </p:nvSpPr>
        <p:spPr>
          <a:xfrm>
            <a:off x="588963" y="1011238"/>
            <a:ext cx="11521440" cy="307777"/>
          </a:xfrm>
        </p:spPr>
        <p:txBody>
          <a:bodyPr vert="horz" wrap="square" lIns="0" tIns="0" rIns="0" bIns="0" rtlCol="0">
            <a:spAutoFit/>
          </a:bodyPr>
          <a:lstStyle>
            <a:lvl1pPr>
              <a:defRPr lang="en-US" sz="2000" dirty="0">
                <a:solidFill>
                  <a:schemeClr val="tx1">
                    <a:lumMod val="85000"/>
                    <a:lumOff val="15000"/>
                  </a:schemeClr>
                </a:solidFill>
              </a:defRPr>
            </a:lvl1pPr>
          </a:lstStyle>
          <a:p>
            <a:pPr marL="0" lvl="0" indent="0">
              <a:buNone/>
            </a:pPr>
            <a:r>
              <a:rPr lang="en-US"/>
              <a:t>Click to edit Master text styles</a:t>
            </a:r>
          </a:p>
        </p:txBody>
      </p:sp>
      <p:sp>
        <p:nvSpPr>
          <p:cNvPr id="14" name="Text Placeholder 4">
            <a:extLst>
              <a:ext uri="{FF2B5EF4-FFF2-40B4-BE49-F238E27FC236}">
                <a16:creationId xmlns:a16="http://schemas.microsoft.com/office/drawing/2014/main" id="{1FB4FCD8-3F8F-46AB-96DA-9DA7CA9AD9D2}"/>
              </a:ext>
            </a:extLst>
          </p:cNvPr>
          <p:cNvSpPr>
            <a:spLocks noGrp="1"/>
          </p:cNvSpPr>
          <p:nvPr>
            <p:ph type="body" sz="quarter" idx="19"/>
          </p:nvPr>
        </p:nvSpPr>
        <p:spPr>
          <a:xfrm>
            <a:off x="9618327" y="1857226"/>
            <a:ext cx="2194560" cy="855619"/>
          </a:xfrm>
        </p:spPr>
        <p:txBody>
          <a:bodyPr/>
          <a:lstStyle>
            <a:lvl1pPr marL="0" indent="0" algn="ctr">
              <a:buNone/>
              <a:defRPr sz="1400" b="1">
                <a:solidFill>
                  <a:srgbClr val="0078D4"/>
                </a:solidFill>
              </a:defRPr>
            </a:lvl1pPr>
            <a:lvl2pPr marL="0" indent="0" algn="ctr">
              <a:buNone/>
              <a:defRPr sz="1200">
                <a:solidFill>
                  <a:srgbClr val="0078D4"/>
                </a:solidFill>
              </a:defRPr>
            </a:lvl2pPr>
            <a:lvl3pPr marL="0" indent="0" algn="ctr">
              <a:buNone/>
              <a:defRPr sz="1050">
                <a:solidFill>
                  <a:srgbClr val="0078D4"/>
                </a:solidFill>
              </a:defRPr>
            </a:lvl3pPr>
            <a:lvl4pPr marL="0" indent="0" algn="ctr">
              <a:buNone/>
              <a:defRPr sz="1200">
                <a:solidFill>
                  <a:srgbClr val="0078D4"/>
                </a:solidFill>
              </a:defRPr>
            </a:lvl4pPr>
            <a:lvl5pPr marL="0" indent="0" algn="ctr">
              <a:buNone/>
              <a:defRPr sz="12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15" name="Text Placeholder 4">
            <a:extLst>
              <a:ext uri="{FF2B5EF4-FFF2-40B4-BE49-F238E27FC236}">
                <a16:creationId xmlns:a16="http://schemas.microsoft.com/office/drawing/2014/main" id="{D3C85003-9D1D-41A4-9EED-DECBC82ABAC6}"/>
              </a:ext>
            </a:extLst>
          </p:cNvPr>
          <p:cNvSpPr>
            <a:spLocks noGrp="1"/>
          </p:cNvSpPr>
          <p:nvPr>
            <p:ph type="body" sz="quarter" idx="20"/>
          </p:nvPr>
        </p:nvSpPr>
        <p:spPr>
          <a:xfrm>
            <a:off x="9890956" y="4544783"/>
            <a:ext cx="2194560" cy="492443"/>
          </a:xfrm>
        </p:spPr>
        <p:txBody>
          <a:bodyPr/>
          <a:lstStyle>
            <a:lvl1pPr marL="0" indent="0" algn="ctr">
              <a:spcAft>
                <a:spcPts val="600"/>
              </a:spcAft>
              <a:buNone/>
              <a:defRPr sz="1600"/>
            </a:lvl1pPr>
            <a:lvl2pPr marL="0" indent="0" algn="ctr">
              <a:spcAft>
                <a:spcPts val="600"/>
              </a:spcAft>
              <a:buNone/>
              <a:defRPr sz="1200"/>
            </a:lvl2pPr>
            <a:lvl3pPr marL="0" indent="0" algn="ctr">
              <a:spcAft>
                <a:spcPts val="600"/>
              </a:spcAft>
              <a:buNone/>
              <a:defRPr sz="1050"/>
            </a:lvl3pPr>
            <a:lvl4pPr marL="0" indent="0" algn="ctr">
              <a:spcAft>
                <a:spcPts val="600"/>
              </a:spcAft>
              <a:buNone/>
              <a:defRPr sz="1000"/>
            </a:lvl4pPr>
            <a:lvl5pPr marL="0" indent="0" algn="ctr">
              <a:spcAft>
                <a:spcPts val="600"/>
              </a:spcAft>
              <a:buNone/>
              <a:defRPr sz="1000"/>
            </a:lvl5pPr>
          </a:lstStyle>
          <a:p>
            <a:pPr lvl="0"/>
            <a:r>
              <a:rPr lang="en-US"/>
              <a:t>Click to edit Master text styles</a:t>
            </a:r>
          </a:p>
        </p:txBody>
      </p:sp>
    </p:spTree>
    <p:extLst>
      <p:ext uri="{BB962C8B-B14F-4D97-AF65-F5344CB8AC3E}">
        <p14:creationId xmlns:p14="http://schemas.microsoft.com/office/powerpoint/2010/main" val="10566295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3965693945"/>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539040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173720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4269" t="8966" r="10242" b="27585"/>
          <a:stretch/>
        </p:blipFill>
        <p:spPr>
          <a:xfrm>
            <a:off x="-29570" y="-7782"/>
            <a:ext cx="12251139" cy="6873565"/>
          </a:xfrm>
          <a:prstGeom prst="rect">
            <a:avLst/>
          </a:prstGeom>
        </p:spPr>
      </p:pic>
      <p:pic>
        <p:nvPicPr>
          <p:cNvPr id="10" name="MS logo gray - EMF"/>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64064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4540904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333417" y="0"/>
            <a:ext cx="6858583" cy="6858973"/>
          </a:xfrm>
          <a:prstGeom prst="rect">
            <a:avLst/>
          </a:prstGeom>
        </p:spPr>
      </p:pic>
    </p:spTree>
    <p:extLst>
      <p:ext uri="{BB962C8B-B14F-4D97-AF65-F5344CB8AC3E}">
        <p14:creationId xmlns:p14="http://schemas.microsoft.com/office/powerpoint/2010/main" val="21937587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786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3885307"/>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275829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033515582"/>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39989798"/>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69786224"/>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3611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2194869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2289785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183962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36453321"/>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3564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3360951"/>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26130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31531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2752185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525153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1"/>
          </p:nvPr>
        </p:nvSpPr>
        <p:spPr>
          <a:xfrm>
            <a:off x="269239" y="1206214"/>
            <a:ext cx="9038950" cy="615609"/>
          </a:xfrm>
        </p:spPr>
        <p:txBody>
          <a:bodyPr anchor="ctr"/>
          <a:lstStyle>
            <a:lvl1pPr marL="0" indent="0">
              <a:buNone/>
              <a:defRPr lang="en-US" sz="3137" b="0" kern="1200" cap="none" spc="-100" baseline="0" dirty="0" smtClean="0">
                <a:ln w="3175">
                  <a:noFill/>
                </a:ln>
                <a:solidFill>
                  <a:schemeClr val="tx2"/>
                </a:solidFill>
                <a:effectLst/>
                <a:latin typeface="+mj-lt"/>
                <a:ea typeface="+mn-ea"/>
                <a:cs typeface="Segoe UI" pitchFamily="34" charset="0"/>
              </a:defRPr>
            </a:lvl1pPr>
            <a:lvl2pPr>
              <a:defRPr lang="en-US" sz="3137" b="0" kern="1200" cap="none" spc="-100" baseline="0" dirty="0" smtClean="0">
                <a:ln w="3175">
                  <a:noFill/>
                </a:ln>
                <a:solidFill>
                  <a:schemeClr val="tx2"/>
                </a:solidFill>
                <a:effectLst/>
                <a:latin typeface="+mj-lt"/>
                <a:ea typeface="+mn-ea"/>
                <a:cs typeface="Segoe UI" pitchFamily="34" charset="0"/>
              </a:defRPr>
            </a:lvl2pPr>
            <a:lvl3pPr>
              <a:defRPr lang="en-US" sz="3137" b="0" kern="1200" cap="none" spc="-100" baseline="0" dirty="0" smtClean="0">
                <a:ln w="3175">
                  <a:noFill/>
                </a:ln>
                <a:solidFill>
                  <a:schemeClr val="tx2"/>
                </a:solidFill>
                <a:effectLst/>
                <a:latin typeface="+mj-lt"/>
                <a:ea typeface="+mn-ea"/>
                <a:cs typeface="Segoe UI" pitchFamily="34" charset="0"/>
              </a:defRPr>
            </a:lvl3pPr>
            <a:lvl4pPr>
              <a:defRPr lang="en-US" sz="3137" b="0" kern="1200" cap="none" spc="-100" baseline="0" dirty="0" smtClean="0">
                <a:ln w="3175">
                  <a:noFill/>
                </a:ln>
                <a:solidFill>
                  <a:schemeClr val="tx2"/>
                </a:solidFill>
                <a:effectLst/>
                <a:latin typeface="+mj-lt"/>
                <a:ea typeface="+mn-ea"/>
                <a:cs typeface="Segoe UI" pitchFamily="34" charset="0"/>
              </a:defRPr>
            </a:lvl4pPr>
            <a:lvl5pPr>
              <a:defRPr lang="en-US" sz="3137" b="0" kern="1200" cap="none" spc="-100" baseline="0" dirty="0" smtClean="0">
                <a:ln w="3175">
                  <a:noFill/>
                </a:ln>
                <a:solidFill>
                  <a:schemeClr val="tx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294166665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2"/>
            <a:ext cx="11802926" cy="899665"/>
          </a:xfrm>
        </p:spPr>
        <p:txBody>
          <a:bodyPr/>
          <a:lstStyle/>
          <a:p>
            <a:r>
              <a:rPr lang="en-US"/>
              <a:t>Click to edit Master title style</a:t>
            </a:r>
          </a:p>
        </p:txBody>
      </p:sp>
      <p:sp>
        <p:nvSpPr>
          <p:cNvPr id="7" name="Text Placeholder 6"/>
          <p:cNvSpPr>
            <a:spLocks noGrp="1"/>
          </p:cNvSpPr>
          <p:nvPr>
            <p:ph type="body" sz="quarter" idx="11"/>
          </p:nvPr>
        </p:nvSpPr>
        <p:spPr>
          <a:xfrm>
            <a:off x="269239" y="1120371"/>
            <a:ext cx="11653522" cy="615609"/>
          </a:xfrm>
        </p:spPr>
        <p:txBody>
          <a:bodyPr anchor="ctr"/>
          <a:lstStyle>
            <a:lvl1pPr marL="0" indent="0">
              <a:buNone/>
              <a:defRPr lang="en-US" sz="3137" b="0" kern="1200" cap="none" spc="-100" baseline="0" dirty="0" smtClean="0">
                <a:ln w="3175">
                  <a:noFill/>
                </a:ln>
                <a:solidFill>
                  <a:schemeClr val="tx2"/>
                </a:solidFill>
                <a:effectLst/>
                <a:latin typeface="+mj-lt"/>
                <a:ea typeface="+mn-ea"/>
                <a:cs typeface="Segoe UI" pitchFamily="34" charset="0"/>
              </a:defRPr>
            </a:lvl1pPr>
            <a:lvl2pPr>
              <a:defRPr lang="en-US" sz="3137" b="0" kern="1200" cap="none" spc="-100" baseline="0" dirty="0" smtClean="0">
                <a:ln w="3175">
                  <a:noFill/>
                </a:ln>
                <a:solidFill>
                  <a:schemeClr val="tx2"/>
                </a:solidFill>
                <a:effectLst/>
                <a:latin typeface="+mj-lt"/>
                <a:ea typeface="+mn-ea"/>
                <a:cs typeface="Segoe UI" pitchFamily="34" charset="0"/>
              </a:defRPr>
            </a:lvl2pPr>
            <a:lvl3pPr>
              <a:defRPr lang="en-US" sz="3137" b="0" kern="1200" cap="none" spc="-100" baseline="0" dirty="0" smtClean="0">
                <a:ln w="3175">
                  <a:noFill/>
                </a:ln>
                <a:solidFill>
                  <a:schemeClr val="tx2"/>
                </a:solidFill>
                <a:effectLst/>
                <a:latin typeface="+mj-lt"/>
                <a:ea typeface="+mn-ea"/>
                <a:cs typeface="Segoe UI" pitchFamily="34" charset="0"/>
              </a:defRPr>
            </a:lvl3pPr>
            <a:lvl4pPr>
              <a:defRPr lang="en-US" sz="3137" b="0" kern="1200" cap="none" spc="-100" baseline="0" dirty="0" smtClean="0">
                <a:ln w="3175">
                  <a:noFill/>
                </a:ln>
                <a:solidFill>
                  <a:schemeClr val="tx2"/>
                </a:solidFill>
                <a:effectLst/>
                <a:latin typeface="+mj-lt"/>
                <a:ea typeface="+mn-ea"/>
                <a:cs typeface="Segoe UI" pitchFamily="34" charset="0"/>
              </a:defRPr>
            </a:lvl4pPr>
            <a:lvl5pPr>
              <a:defRPr lang="en-US" sz="3137" b="0" kern="1200" cap="none" spc="-100" baseline="0" dirty="0" smtClean="0">
                <a:ln w="3175">
                  <a:noFill/>
                </a:ln>
                <a:solidFill>
                  <a:schemeClr val="tx2"/>
                </a:solidFill>
                <a:effectLst/>
                <a:latin typeface="+mj-lt"/>
                <a:ea typeface="+mn-ea"/>
                <a:cs typeface="Segoe UI" pitchFamily="34" charset="0"/>
              </a:defRPr>
            </a:lvl5pPr>
          </a:lstStyle>
          <a:p>
            <a:pPr lvl="0"/>
            <a:r>
              <a:rPr lang="en-US"/>
              <a:t>Edit Master text styles</a:t>
            </a:r>
          </a:p>
        </p:txBody>
      </p:sp>
    </p:spTree>
    <p:extLst>
      <p:ext uri="{BB962C8B-B14F-4D97-AF65-F5344CB8AC3E}">
        <p14:creationId xmlns:p14="http://schemas.microsoft.com/office/powerpoint/2010/main" val="1341280060"/>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5147501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4269" t="8966" r="10242" b="27585"/>
          <a:stretch/>
        </p:blipFill>
        <p:spPr>
          <a:xfrm>
            <a:off x="-29570" y="-7782"/>
            <a:ext cx="12251139" cy="6873565"/>
          </a:xfrm>
          <a:prstGeom prst="rect">
            <a:avLst/>
          </a:prstGeom>
        </p:spPr>
      </p:pic>
      <p:sp>
        <p:nvSpPr>
          <p:cNvPr id="11" name="Rectangle 10">
            <a:extLst>
              <a:ext uri="{FF2B5EF4-FFF2-40B4-BE49-F238E27FC236}">
                <a16:creationId xmlns:a16="http://schemas.microsoft.com/office/drawing/2014/main" id="{C1BF2564-F324-4D2F-BD31-25730770F6F1}"/>
              </a:ext>
            </a:extLst>
          </p:cNvPr>
          <p:cNvSpPr/>
          <p:nvPr userDrawn="1"/>
        </p:nvSpPr>
        <p:spPr bwMode="auto">
          <a:xfrm>
            <a:off x="-29569" y="-7782"/>
            <a:ext cx="12251139" cy="6873565"/>
          </a:xfrm>
          <a:prstGeom prst="rect">
            <a:avLst/>
          </a:prstGeom>
          <a:solidFill>
            <a:schemeClr val="tx1">
              <a:lumMod val="50000"/>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3529">
              <a:gradFill>
                <a:gsLst>
                  <a:gs pos="0">
                    <a:srgbClr val="FFFFFF"/>
                  </a:gs>
                  <a:gs pos="100000">
                    <a:srgbClr val="FFFFFF"/>
                  </a:gs>
                </a:gsLst>
                <a:lin ang="5400000" scaled="0"/>
              </a:gradFill>
              <a:cs typeface="Segoe UI" pitchFamily="34" charset="0"/>
            </a:endParaRPr>
          </a:p>
        </p:txBody>
      </p:sp>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a:t>Speaker name</a:t>
            </a:r>
          </a:p>
        </p:txBody>
      </p:sp>
      <p:pic>
        <p:nvPicPr>
          <p:cNvPr id="8" name="Picture 7">
            <a:extLst>
              <a:ext uri="{FF2B5EF4-FFF2-40B4-BE49-F238E27FC236}">
                <a16:creationId xmlns:a16="http://schemas.microsoft.com/office/drawing/2014/main" id="{F04341EC-2A69-44AC-8D72-2A5D4C42D958}"/>
              </a:ext>
            </a:extLst>
          </p:cNvPr>
          <p:cNvPicPr>
            <a:picLocks noChangeAspect="1"/>
          </p:cNvPicPr>
          <p:nvPr userDrawn="1"/>
        </p:nvPicPr>
        <p:blipFill>
          <a:blip r:embed="rId3"/>
          <a:stretch>
            <a:fillRect/>
          </a:stretch>
        </p:blipFill>
        <p:spPr>
          <a:xfrm>
            <a:off x="451632" y="470067"/>
            <a:ext cx="1429004" cy="304828"/>
          </a:xfrm>
          <a:prstGeom prst="rect">
            <a:avLst/>
          </a:prstGeom>
        </p:spPr>
      </p:pic>
    </p:spTree>
    <p:extLst>
      <p:ext uri="{BB962C8B-B14F-4D97-AF65-F5344CB8AC3E}">
        <p14:creationId xmlns:p14="http://schemas.microsoft.com/office/powerpoint/2010/main" val="105557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097496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954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333417" y="0"/>
            <a:ext cx="6858583" cy="6858973"/>
          </a:xfrm>
          <a:prstGeom prst="rect">
            <a:avLst/>
          </a:prstGeom>
        </p:spPr>
      </p:pic>
    </p:spTree>
    <p:extLst>
      <p:ext uri="{BB962C8B-B14F-4D97-AF65-F5344CB8AC3E}">
        <p14:creationId xmlns:p14="http://schemas.microsoft.com/office/powerpoint/2010/main" val="11373392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150108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7249925"/>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925495812"/>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45749259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010509"/>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70294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3716050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4142646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98903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0" y="0"/>
            <a:ext cx="12200028" cy="6882063"/>
          </a:xfrm>
          <a:prstGeom prst="rect">
            <a:avLst/>
          </a:prstGeom>
        </p:spPr>
      </p:pic>
      <p:sp>
        <p:nvSpPr>
          <p:cNvPr id="11" name="Rectangle 10"/>
          <p:cNvSpPr/>
          <p:nvPr/>
        </p:nvSpPr>
        <p:spPr>
          <a:xfrm>
            <a:off x="223347" y="230444"/>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0710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320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Microsoft Power BI Overview for IT Professionals</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3853433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419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71460124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75892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5414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9822401"/>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015121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627502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87" name="Freeform 16"/>
          <p:cNvSpPr>
            <a:spLocks/>
          </p:cNvSpPr>
          <p:nvPr userDrawn="1"/>
        </p:nvSpPr>
        <p:spPr bwMode="auto">
          <a:xfrm>
            <a:off x="0" y="3953546"/>
            <a:ext cx="5548185" cy="2904455"/>
          </a:xfrm>
          <a:custGeom>
            <a:avLst/>
            <a:gdLst>
              <a:gd name="T0" fmla="*/ 128 w 3565"/>
              <a:gd name="T1" fmla="*/ 957 h 1866"/>
              <a:gd name="T2" fmla="*/ 187 w 3565"/>
              <a:gd name="T3" fmla="*/ 982 h 1866"/>
              <a:gd name="T4" fmla="*/ 246 w 3565"/>
              <a:gd name="T5" fmla="*/ 909 h 1866"/>
              <a:gd name="T6" fmla="*/ 463 w 3565"/>
              <a:gd name="T7" fmla="*/ 816 h 1866"/>
              <a:gd name="T8" fmla="*/ 501 w 3565"/>
              <a:gd name="T9" fmla="*/ 874 h 1866"/>
              <a:gd name="T10" fmla="*/ 543 w 3565"/>
              <a:gd name="T11" fmla="*/ 926 h 1866"/>
              <a:gd name="T12" fmla="*/ 632 w 3565"/>
              <a:gd name="T13" fmla="*/ 677 h 1866"/>
              <a:gd name="T14" fmla="*/ 774 w 3565"/>
              <a:gd name="T15" fmla="*/ 719 h 1866"/>
              <a:gd name="T16" fmla="*/ 822 w 3565"/>
              <a:gd name="T17" fmla="*/ 771 h 1866"/>
              <a:gd name="T18" fmla="*/ 1040 w 3565"/>
              <a:gd name="T19" fmla="*/ 691 h 1866"/>
              <a:gd name="T20" fmla="*/ 1151 w 3565"/>
              <a:gd name="T21" fmla="*/ 823 h 1866"/>
              <a:gd name="T22" fmla="*/ 1209 w 3565"/>
              <a:gd name="T23" fmla="*/ 608 h 1866"/>
              <a:gd name="T24" fmla="*/ 1251 w 3565"/>
              <a:gd name="T25" fmla="*/ 543 h 1866"/>
              <a:gd name="T26" fmla="*/ 1372 w 3565"/>
              <a:gd name="T27" fmla="*/ 608 h 1866"/>
              <a:gd name="T28" fmla="*/ 1413 w 3565"/>
              <a:gd name="T29" fmla="*/ 567 h 1866"/>
              <a:gd name="T30" fmla="*/ 1458 w 3565"/>
              <a:gd name="T31" fmla="*/ 629 h 1866"/>
              <a:gd name="T32" fmla="*/ 1510 w 3565"/>
              <a:gd name="T33" fmla="*/ 871 h 1866"/>
              <a:gd name="T34" fmla="*/ 1548 w 3565"/>
              <a:gd name="T35" fmla="*/ 608 h 1866"/>
              <a:gd name="T36" fmla="*/ 1600 w 3565"/>
              <a:gd name="T37" fmla="*/ 563 h 1866"/>
              <a:gd name="T38" fmla="*/ 1627 w 3565"/>
              <a:gd name="T39" fmla="*/ 619 h 1866"/>
              <a:gd name="T40" fmla="*/ 1648 w 3565"/>
              <a:gd name="T41" fmla="*/ 764 h 1866"/>
              <a:gd name="T42" fmla="*/ 1683 w 3565"/>
              <a:gd name="T43" fmla="*/ 950 h 1866"/>
              <a:gd name="T44" fmla="*/ 1721 w 3565"/>
              <a:gd name="T45" fmla="*/ 847 h 1866"/>
              <a:gd name="T46" fmla="*/ 1752 w 3565"/>
              <a:gd name="T47" fmla="*/ 536 h 1866"/>
              <a:gd name="T48" fmla="*/ 2038 w 3565"/>
              <a:gd name="T49" fmla="*/ 456 h 1866"/>
              <a:gd name="T50" fmla="*/ 2059 w 3565"/>
              <a:gd name="T51" fmla="*/ 539 h 1866"/>
              <a:gd name="T52" fmla="*/ 2173 w 3565"/>
              <a:gd name="T53" fmla="*/ 246 h 1866"/>
              <a:gd name="T54" fmla="*/ 2252 w 3565"/>
              <a:gd name="T55" fmla="*/ 201 h 1866"/>
              <a:gd name="T56" fmla="*/ 2287 w 3565"/>
              <a:gd name="T57" fmla="*/ 259 h 1866"/>
              <a:gd name="T58" fmla="*/ 2356 w 3565"/>
              <a:gd name="T59" fmla="*/ 843 h 1866"/>
              <a:gd name="T60" fmla="*/ 2384 w 3565"/>
              <a:gd name="T61" fmla="*/ 612 h 1866"/>
              <a:gd name="T62" fmla="*/ 2398 w 3565"/>
              <a:gd name="T63" fmla="*/ 432 h 1866"/>
              <a:gd name="T64" fmla="*/ 2436 w 3565"/>
              <a:gd name="T65" fmla="*/ 139 h 1866"/>
              <a:gd name="T66" fmla="*/ 2567 w 3565"/>
              <a:gd name="T67" fmla="*/ 0 h 1866"/>
              <a:gd name="T68" fmla="*/ 2598 w 3565"/>
              <a:gd name="T69" fmla="*/ 121 h 1866"/>
              <a:gd name="T70" fmla="*/ 2629 w 3565"/>
              <a:gd name="T71" fmla="*/ 173 h 1866"/>
              <a:gd name="T72" fmla="*/ 2670 w 3565"/>
              <a:gd name="T73" fmla="*/ 491 h 1866"/>
              <a:gd name="T74" fmla="*/ 2988 w 3565"/>
              <a:gd name="T75" fmla="*/ 346 h 1866"/>
              <a:gd name="T76" fmla="*/ 3071 w 3565"/>
              <a:gd name="T77" fmla="*/ 532 h 1866"/>
              <a:gd name="T78" fmla="*/ 3126 w 3565"/>
              <a:gd name="T79" fmla="*/ 498 h 1866"/>
              <a:gd name="T80" fmla="*/ 3233 w 3565"/>
              <a:gd name="T81" fmla="*/ 550 h 1866"/>
              <a:gd name="T82" fmla="*/ 3320 w 3565"/>
              <a:gd name="T83" fmla="*/ 463 h 1866"/>
              <a:gd name="T84" fmla="*/ 3382 w 3565"/>
              <a:gd name="T85" fmla="*/ 398 h 1866"/>
              <a:gd name="T86" fmla="*/ 3565 w 3565"/>
              <a:gd name="T87" fmla="*/ 446 h 1866"/>
              <a:gd name="T88" fmla="*/ 3565 w 3565"/>
              <a:gd name="T89" fmla="*/ 1866 h 1866"/>
              <a:gd name="T90" fmla="*/ 0 w 3565"/>
              <a:gd name="T91" fmla="*/ 957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65" h="1866">
                <a:moveTo>
                  <a:pt x="0" y="957"/>
                </a:moveTo>
                <a:lnTo>
                  <a:pt x="128" y="957"/>
                </a:lnTo>
                <a:lnTo>
                  <a:pt x="128" y="982"/>
                </a:lnTo>
                <a:lnTo>
                  <a:pt x="187" y="982"/>
                </a:lnTo>
                <a:lnTo>
                  <a:pt x="187" y="909"/>
                </a:lnTo>
                <a:lnTo>
                  <a:pt x="246" y="909"/>
                </a:lnTo>
                <a:lnTo>
                  <a:pt x="246" y="816"/>
                </a:lnTo>
                <a:lnTo>
                  <a:pt x="463" y="816"/>
                </a:lnTo>
                <a:lnTo>
                  <a:pt x="463" y="874"/>
                </a:lnTo>
                <a:lnTo>
                  <a:pt x="501" y="874"/>
                </a:lnTo>
                <a:lnTo>
                  <a:pt x="501" y="926"/>
                </a:lnTo>
                <a:lnTo>
                  <a:pt x="543" y="926"/>
                </a:lnTo>
                <a:lnTo>
                  <a:pt x="543" y="677"/>
                </a:lnTo>
                <a:lnTo>
                  <a:pt x="632" y="677"/>
                </a:lnTo>
                <a:lnTo>
                  <a:pt x="632" y="719"/>
                </a:lnTo>
                <a:lnTo>
                  <a:pt x="774" y="719"/>
                </a:lnTo>
                <a:lnTo>
                  <a:pt x="774" y="771"/>
                </a:lnTo>
                <a:lnTo>
                  <a:pt x="822" y="771"/>
                </a:lnTo>
                <a:lnTo>
                  <a:pt x="822" y="691"/>
                </a:lnTo>
                <a:lnTo>
                  <a:pt x="1040" y="691"/>
                </a:lnTo>
                <a:lnTo>
                  <a:pt x="1040" y="823"/>
                </a:lnTo>
                <a:lnTo>
                  <a:pt x="1151" y="823"/>
                </a:lnTo>
                <a:lnTo>
                  <a:pt x="1151" y="608"/>
                </a:lnTo>
                <a:lnTo>
                  <a:pt x="1209" y="608"/>
                </a:lnTo>
                <a:lnTo>
                  <a:pt x="1209" y="543"/>
                </a:lnTo>
                <a:lnTo>
                  <a:pt x="1251" y="543"/>
                </a:lnTo>
                <a:lnTo>
                  <a:pt x="1251" y="608"/>
                </a:lnTo>
                <a:lnTo>
                  <a:pt x="1372" y="608"/>
                </a:lnTo>
                <a:lnTo>
                  <a:pt x="1372" y="567"/>
                </a:lnTo>
                <a:lnTo>
                  <a:pt x="1413" y="567"/>
                </a:lnTo>
                <a:lnTo>
                  <a:pt x="1413" y="629"/>
                </a:lnTo>
                <a:lnTo>
                  <a:pt x="1458" y="629"/>
                </a:lnTo>
                <a:lnTo>
                  <a:pt x="1458" y="871"/>
                </a:lnTo>
                <a:lnTo>
                  <a:pt x="1510" y="871"/>
                </a:lnTo>
                <a:lnTo>
                  <a:pt x="1510" y="608"/>
                </a:lnTo>
                <a:lnTo>
                  <a:pt x="1548" y="608"/>
                </a:lnTo>
                <a:lnTo>
                  <a:pt x="1548" y="563"/>
                </a:lnTo>
                <a:lnTo>
                  <a:pt x="1600" y="563"/>
                </a:lnTo>
                <a:lnTo>
                  <a:pt x="1600" y="619"/>
                </a:lnTo>
                <a:lnTo>
                  <a:pt x="1627" y="619"/>
                </a:lnTo>
                <a:lnTo>
                  <a:pt x="1627" y="764"/>
                </a:lnTo>
                <a:lnTo>
                  <a:pt x="1648" y="764"/>
                </a:lnTo>
                <a:lnTo>
                  <a:pt x="1648" y="950"/>
                </a:lnTo>
                <a:lnTo>
                  <a:pt x="1683" y="950"/>
                </a:lnTo>
                <a:lnTo>
                  <a:pt x="1683" y="847"/>
                </a:lnTo>
                <a:lnTo>
                  <a:pt x="1721" y="847"/>
                </a:lnTo>
                <a:lnTo>
                  <a:pt x="1721" y="536"/>
                </a:lnTo>
                <a:lnTo>
                  <a:pt x="1752" y="536"/>
                </a:lnTo>
                <a:lnTo>
                  <a:pt x="1752" y="456"/>
                </a:lnTo>
                <a:lnTo>
                  <a:pt x="2038" y="456"/>
                </a:lnTo>
                <a:lnTo>
                  <a:pt x="2038" y="539"/>
                </a:lnTo>
                <a:lnTo>
                  <a:pt x="2059" y="539"/>
                </a:lnTo>
                <a:lnTo>
                  <a:pt x="2059" y="246"/>
                </a:lnTo>
                <a:lnTo>
                  <a:pt x="2173" y="246"/>
                </a:lnTo>
                <a:lnTo>
                  <a:pt x="2173" y="201"/>
                </a:lnTo>
                <a:lnTo>
                  <a:pt x="2252" y="201"/>
                </a:lnTo>
                <a:lnTo>
                  <a:pt x="2252" y="259"/>
                </a:lnTo>
                <a:lnTo>
                  <a:pt x="2287" y="259"/>
                </a:lnTo>
                <a:lnTo>
                  <a:pt x="2287" y="843"/>
                </a:lnTo>
                <a:lnTo>
                  <a:pt x="2356" y="843"/>
                </a:lnTo>
                <a:lnTo>
                  <a:pt x="2356" y="612"/>
                </a:lnTo>
                <a:lnTo>
                  <a:pt x="2384" y="612"/>
                </a:lnTo>
                <a:lnTo>
                  <a:pt x="2384" y="449"/>
                </a:lnTo>
                <a:lnTo>
                  <a:pt x="2398" y="432"/>
                </a:lnTo>
                <a:lnTo>
                  <a:pt x="2398" y="139"/>
                </a:lnTo>
                <a:lnTo>
                  <a:pt x="2436" y="139"/>
                </a:lnTo>
                <a:lnTo>
                  <a:pt x="2436" y="0"/>
                </a:lnTo>
                <a:lnTo>
                  <a:pt x="2567" y="0"/>
                </a:lnTo>
                <a:lnTo>
                  <a:pt x="2567" y="121"/>
                </a:lnTo>
                <a:lnTo>
                  <a:pt x="2598" y="121"/>
                </a:lnTo>
                <a:lnTo>
                  <a:pt x="2598" y="173"/>
                </a:lnTo>
                <a:lnTo>
                  <a:pt x="2629" y="173"/>
                </a:lnTo>
                <a:lnTo>
                  <a:pt x="2629" y="491"/>
                </a:lnTo>
                <a:lnTo>
                  <a:pt x="2670" y="491"/>
                </a:lnTo>
                <a:lnTo>
                  <a:pt x="2670" y="346"/>
                </a:lnTo>
                <a:lnTo>
                  <a:pt x="2988" y="346"/>
                </a:lnTo>
                <a:lnTo>
                  <a:pt x="2988" y="532"/>
                </a:lnTo>
                <a:lnTo>
                  <a:pt x="3071" y="532"/>
                </a:lnTo>
                <a:lnTo>
                  <a:pt x="3071" y="498"/>
                </a:lnTo>
                <a:lnTo>
                  <a:pt x="3126" y="498"/>
                </a:lnTo>
                <a:lnTo>
                  <a:pt x="3126" y="550"/>
                </a:lnTo>
                <a:lnTo>
                  <a:pt x="3233" y="550"/>
                </a:lnTo>
                <a:lnTo>
                  <a:pt x="3233" y="463"/>
                </a:lnTo>
                <a:lnTo>
                  <a:pt x="3320" y="463"/>
                </a:lnTo>
                <a:lnTo>
                  <a:pt x="3320" y="398"/>
                </a:lnTo>
                <a:lnTo>
                  <a:pt x="3382" y="398"/>
                </a:lnTo>
                <a:lnTo>
                  <a:pt x="3382" y="446"/>
                </a:lnTo>
                <a:lnTo>
                  <a:pt x="3565" y="446"/>
                </a:lnTo>
                <a:lnTo>
                  <a:pt x="3565" y="1040"/>
                </a:lnTo>
                <a:lnTo>
                  <a:pt x="3565" y="1866"/>
                </a:lnTo>
                <a:lnTo>
                  <a:pt x="0" y="1866"/>
                </a:lnTo>
                <a:lnTo>
                  <a:pt x="0" y="95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88" name="Freeform 17"/>
          <p:cNvSpPr>
            <a:spLocks/>
          </p:cNvSpPr>
          <p:nvPr userDrawn="1"/>
        </p:nvSpPr>
        <p:spPr bwMode="auto">
          <a:xfrm>
            <a:off x="5395669" y="4470308"/>
            <a:ext cx="3084573" cy="2387692"/>
          </a:xfrm>
          <a:custGeom>
            <a:avLst/>
            <a:gdLst>
              <a:gd name="T0" fmla="*/ 1882 w 1982"/>
              <a:gd name="T1" fmla="*/ 456 h 1534"/>
              <a:gd name="T2" fmla="*/ 1882 w 1982"/>
              <a:gd name="T3" fmla="*/ 546 h 1534"/>
              <a:gd name="T4" fmla="*/ 1830 w 1982"/>
              <a:gd name="T5" fmla="*/ 546 h 1534"/>
              <a:gd name="T6" fmla="*/ 1830 w 1982"/>
              <a:gd name="T7" fmla="*/ 629 h 1534"/>
              <a:gd name="T8" fmla="*/ 1699 w 1982"/>
              <a:gd name="T9" fmla="*/ 629 h 1534"/>
              <a:gd name="T10" fmla="*/ 1699 w 1982"/>
              <a:gd name="T11" fmla="*/ 822 h 1534"/>
              <a:gd name="T12" fmla="*/ 1668 w 1982"/>
              <a:gd name="T13" fmla="*/ 822 h 1534"/>
              <a:gd name="T14" fmla="*/ 1668 w 1982"/>
              <a:gd name="T15" fmla="*/ 59 h 1534"/>
              <a:gd name="T16" fmla="*/ 1388 w 1982"/>
              <a:gd name="T17" fmla="*/ 59 h 1534"/>
              <a:gd name="T18" fmla="*/ 1388 w 1982"/>
              <a:gd name="T19" fmla="*/ 200 h 1534"/>
              <a:gd name="T20" fmla="*/ 1226 w 1982"/>
              <a:gd name="T21" fmla="*/ 200 h 1534"/>
              <a:gd name="T22" fmla="*/ 1226 w 1982"/>
              <a:gd name="T23" fmla="*/ 688 h 1534"/>
              <a:gd name="T24" fmla="*/ 1119 w 1982"/>
              <a:gd name="T25" fmla="*/ 688 h 1534"/>
              <a:gd name="T26" fmla="*/ 1119 w 1982"/>
              <a:gd name="T27" fmla="*/ 629 h 1534"/>
              <a:gd name="T28" fmla="*/ 1043 w 1982"/>
              <a:gd name="T29" fmla="*/ 629 h 1534"/>
              <a:gd name="T30" fmla="*/ 1043 w 1982"/>
              <a:gd name="T31" fmla="*/ 542 h 1534"/>
              <a:gd name="T32" fmla="*/ 839 w 1982"/>
              <a:gd name="T33" fmla="*/ 542 h 1534"/>
              <a:gd name="T34" fmla="*/ 839 w 1982"/>
              <a:gd name="T35" fmla="*/ 629 h 1534"/>
              <a:gd name="T36" fmla="*/ 736 w 1982"/>
              <a:gd name="T37" fmla="*/ 629 h 1534"/>
              <a:gd name="T38" fmla="*/ 736 w 1982"/>
              <a:gd name="T39" fmla="*/ 698 h 1534"/>
              <a:gd name="T40" fmla="*/ 694 w 1982"/>
              <a:gd name="T41" fmla="*/ 698 h 1534"/>
              <a:gd name="T42" fmla="*/ 694 w 1982"/>
              <a:gd name="T43" fmla="*/ 0 h 1534"/>
              <a:gd name="T44" fmla="*/ 331 w 1982"/>
              <a:gd name="T45" fmla="*/ 0 h 1534"/>
              <a:gd name="T46" fmla="*/ 331 w 1982"/>
              <a:gd name="T47" fmla="*/ 663 h 1534"/>
              <a:gd name="T48" fmla="*/ 245 w 1982"/>
              <a:gd name="T49" fmla="*/ 663 h 1534"/>
              <a:gd name="T50" fmla="*/ 245 w 1982"/>
              <a:gd name="T51" fmla="*/ 456 h 1534"/>
              <a:gd name="T52" fmla="*/ 93 w 1982"/>
              <a:gd name="T53" fmla="*/ 456 h 1534"/>
              <a:gd name="T54" fmla="*/ 93 w 1982"/>
              <a:gd name="T55" fmla="*/ 826 h 1534"/>
              <a:gd name="T56" fmla="*/ 0 w 1982"/>
              <a:gd name="T57" fmla="*/ 826 h 1534"/>
              <a:gd name="T58" fmla="*/ 0 w 1982"/>
              <a:gd name="T59" fmla="*/ 1534 h 1534"/>
              <a:gd name="T60" fmla="*/ 1982 w 1982"/>
              <a:gd name="T61" fmla="*/ 1534 h 1534"/>
              <a:gd name="T62" fmla="*/ 1982 w 1982"/>
              <a:gd name="T63" fmla="*/ 456 h 1534"/>
              <a:gd name="T64" fmla="*/ 1882 w 1982"/>
              <a:gd name="T65" fmla="*/ 456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82" h="1534">
                <a:moveTo>
                  <a:pt x="1882" y="456"/>
                </a:moveTo>
                <a:lnTo>
                  <a:pt x="1882" y="546"/>
                </a:lnTo>
                <a:lnTo>
                  <a:pt x="1830" y="546"/>
                </a:lnTo>
                <a:lnTo>
                  <a:pt x="1830" y="629"/>
                </a:lnTo>
                <a:lnTo>
                  <a:pt x="1699" y="629"/>
                </a:lnTo>
                <a:lnTo>
                  <a:pt x="1699" y="822"/>
                </a:lnTo>
                <a:lnTo>
                  <a:pt x="1668" y="822"/>
                </a:lnTo>
                <a:lnTo>
                  <a:pt x="1668" y="59"/>
                </a:lnTo>
                <a:lnTo>
                  <a:pt x="1388" y="59"/>
                </a:lnTo>
                <a:lnTo>
                  <a:pt x="1388" y="200"/>
                </a:lnTo>
                <a:lnTo>
                  <a:pt x="1226" y="200"/>
                </a:lnTo>
                <a:lnTo>
                  <a:pt x="1226" y="688"/>
                </a:lnTo>
                <a:lnTo>
                  <a:pt x="1119" y="688"/>
                </a:lnTo>
                <a:lnTo>
                  <a:pt x="1119" y="629"/>
                </a:lnTo>
                <a:lnTo>
                  <a:pt x="1043" y="629"/>
                </a:lnTo>
                <a:lnTo>
                  <a:pt x="1043" y="542"/>
                </a:lnTo>
                <a:lnTo>
                  <a:pt x="839" y="542"/>
                </a:lnTo>
                <a:lnTo>
                  <a:pt x="839" y="629"/>
                </a:lnTo>
                <a:lnTo>
                  <a:pt x="736" y="629"/>
                </a:lnTo>
                <a:lnTo>
                  <a:pt x="736" y="698"/>
                </a:lnTo>
                <a:lnTo>
                  <a:pt x="694" y="698"/>
                </a:lnTo>
                <a:lnTo>
                  <a:pt x="694" y="0"/>
                </a:lnTo>
                <a:lnTo>
                  <a:pt x="331" y="0"/>
                </a:lnTo>
                <a:lnTo>
                  <a:pt x="331" y="663"/>
                </a:lnTo>
                <a:lnTo>
                  <a:pt x="245" y="663"/>
                </a:lnTo>
                <a:lnTo>
                  <a:pt x="245" y="456"/>
                </a:lnTo>
                <a:lnTo>
                  <a:pt x="93" y="456"/>
                </a:lnTo>
                <a:lnTo>
                  <a:pt x="93" y="826"/>
                </a:lnTo>
                <a:lnTo>
                  <a:pt x="0" y="826"/>
                </a:lnTo>
                <a:lnTo>
                  <a:pt x="0" y="1534"/>
                </a:lnTo>
                <a:lnTo>
                  <a:pt x="1982" y="1534"/>
                </a:lnTo>
                <a:lnTo>
                  <a:pt x="1982" y="456"/>
                </a:lnTo>
                <a:lnTo>
                  <a:pt x="1882" y="456"/>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89" name="Freeform 18"/>
          <p:cNvSpPr>
            <a:spLocks/>
          </p:cNvSpPr>
          <p:nvPr userDrawn="1"/>
        </p:nvSpPr>
        <p:spPr bwMode="auto">
          <a:xfrm flipH="1">
            <a:off x="8466235" y="2965159"/>
            <a:ext cx="3725766" cy="3892842"/>
          </a:xfrm>
          <a:custGeom>
            <a:avLst/>
            <a:gdLst>
              <a:gd name="T0" fmla="*/ 2308 w 2394"/>
              <a:gd name="T1" fmla="*/ 1385 h 2501"/>
              <a:gd name="T2" fmla="*/ 2270 w 2394"/>
              <a:gd name="T3" fmla="*/ 1420 h 2501"/>
              <a:gd name="T4" fmla="*/ 2228 w 2394"/>
              <a:gd name="T5" fmla="*/ 1323 h 2501"/>
              <a:gd name="T6" fmla="*/ 2083 w 2394"/>
              <a:gd name="T7" fmla="*/ 1202 h 2501"/>
              <a:gd name="T8" fmla="*/ 2055 w 2394"/>
              <a:gd name="T9" fmla="*/ 1278 h 2501"/>
              <a:gd name="T10" fmla="*/ 2031 w 2394"/>
              <a:gd name="T11" fmla="*/ 1344 h 2501"/>
              <a:gd name="T12" fmla="*/ 1969 w 2394"/>
              <a:gd name="T13" fmla="*/ 1019 h 2501"/>
              <a:gd name="T14" fmla="*/ 1872 w 2394"/>
              <a:gd name="T15" fmla="*/ 1071 h 2501"/>
              <a:gd name="T16" fmla="*/ 1845 w 2394"/>
              <a:gd name="T17" fmla="*/ 1140 h 2501"/>
              <a:gd name="T18" fmla="*/ 1696 w 2394"/>
              <a:gd name="T19" fmla="*/ 1036 h 2501"/>
              <a:gd name="T20" fmla="*/ 1620 w 2394"/>
              <a:gd name="T21" fmla="*/ 1209 h 2501"/>
              <a:gd name="T22" fmla="*/ 1582 w 2394"/>
              <a:gd name="T23" fmla="*/ 929 h 2501"/>
              <a:gd name="T24" fmla="*/ 1555 w 2394"/>
              <a:gd name="T25" fmla="*/ 843 h 2501"/>
              <a:gd name="T26" fmla="*/ 1472 w 2394"/>
              <a:gd name="T27" fmla="*/ 929 h 2501"/>
              <a:gd name="T28" fmla="*/ 1447 w 2394"/>
              <a:gd name="T29" fmla="*/ 874 h 2501"/>
              <a:gd name="T30" fmla="*/ 1416 w 2394"/>
              <a:gd name="T31" fmla="*/ 953 h 2501"/>
              <a:gd name="T32" fmla="*/ 1382 w 2394"/>
              <a:gd name="T33" fmla="*/ 1274 h 2501"/>
              <a:gd name="T34" fmla="*/ 1354 w 2394"/>
              <a:gd name="T35" fmla="*/ 929 h 2501"/>
              <a:gd name="T36" fmla="*/ 1320 w 2394"/>
              <a:gd name="T37" fmla="*/ 867 h 2501"/>
              <a:gd name="T38" fmla="*/ 1302 w 2394"/>
              <a:gd name="T39" fmla="*/ 939 h 2501"/>
              <a:gd name="T40" fmla="*/ 1285 w 2394"/>
              <a:gd name="T41" fmla="*/ 1133 h 2501"/>
              <a:gd name="T42" fmla="*/ 1264 w 2394"/>
              <a:gd name="T43" fmla="*/ 1378 h 2501"/>
              <a:gd name="T44" fmla="*/ 1240 w 2394"/>
              <a:gd name="T45" fmla="*/ 1243 h 2501"/>
              <a:gd name="T46" fmla="*/ 1216 w 2394"/>
              <a:gd name="T47" fmla="*/ 701 h 2501"/>
              <a:gd name="T48" fmla="*/ 1026 w 2394"/>
              <a:gd name="T49" fmla="*/ 597 h 2501"/>
              <a:gd name="T50" fmla="*/ 1009 w 2394"/>
              <a:gd name="T51" fmla="*/ 708 h 2501"/>
              <a:gd name="T52" fmla="*/ 933 w 2394"/>
              <a:gd name="T53" fmla="*/ 324 h 2501"/>
              <a:gd name="T54" fmla="*/ 881 w 2394"/>
              <a:gd name="T55" fmla="*/ 262 h 2501"/>
              <a:gd name="T56" fmla="*/ 857 w 2394"/>
              <a:gd name="T57" fmla="*/ 338 h 2501"/>
              <a:gd name="T58" fmla="*/ 812 w 2394"/>
              <a:gd name="T59" fmla="*/ 1243 h 2501"/>
              <a:gd name="T60" fmla="*/ 795 w 2394"/>
              <a:gd name="T61" fmla="*/ 939 h 2501"/>
              <a:gd name="T62" fmla="*/ 784 w 2394"/>
              <a:gd name="T63" fmla="*/ 566 h 2501"/>
              <a:gd name="T64" fmla="*/ 757 w 2394"/>
              <a:gd name="T65" fmla="*/ 183 h 2501"/>
              <a:gd name="T66" fmla="*/ 670 w 2394"/>
              <a:gd name="T67" fmla="*/ 0 h 2501"/>
              <a:gd name="T68" fmla="*/ 646 w 2394"/>
              <a:gd name="T69" fmla="*/ 155 h 2501"/>
              <a:gd name="T70" fmla="*/ 629 w 2394"/>
              <a:gd name="T71" fmla="*/ 228 h 2501"/>
              <a:gd name="T72" fmla="*/ 598 w 2394"/>
              <a:gd name="T73" fmla="*/ 642 h 2501"/>
              <a:gd name="T74" fmla="*/ 387 w 2394"/>
              <a:gd name="T75" fmla="*/ 456 h 2501"/>
              <a:gd name="T76" fmla="*/ 332 w 2394"/>
              <a:gd name="T77" fmla="*/ 698 h 2501"/>
              <a:gd name="T78" fmla="*/ 294 w 2394"/>
              <a:gd name="T79" fmla="*/ 653 h 2501"/>
              <a:gd name="T80" fmla="*/ 221 w 2394"/>
              <a:gd name="T81" fmla="*/ 722 h 2501"/>
              <a:gd name="T82" fmla="*/ 163 w 2394"/>
              <a:gd name="T83" fmla="*/ 604 h 2501"/>
              <a:gd name="T84" fmla="*/ 121 w 2394"/>
              <a:gd name="T85" fmla="*/ 521 h 2501"/>
              <a:gd name="T86" fmla="*/ 0 w 2394"/>
              <a:gd name="T87" fmla="*/ 587 h 2501"/>
              <a:gd name="T88" fmla="*/ 0 w 2394"/>
              <a:gd name="T89" fmla="*/ 2501 h 2501"/>
              <a:gd name="T90" fmla="*/ 2394 w 2394"/>
              <a:gd name="T91" fmla="*/ 1385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94" h="2501">
                <a:moveTo>
                  <a:pt x="2394" y="1385"/>
                </a:moveTo>
                <a:lnTo>
                  <a:pt x="2308" y="1385"/>
                </a:lnTo>
                <a:lnTo>
                  <a:pt x="2308" y="1420"/>
                </a:lnTo>
                <a:lnTo>
                  <a:pt x="2270" y="1420"/>
                </a:lnTo>
                <a:lnTo>
                  <a:pt x="2270" y="1323"/>
                </a:lnTo>
                <a:lnTo>
                  <a:pt x="2228" y="1323"/>
                </a:lnTo>
                <a:lnTo>
                  <a:pt x="2228" y="1202"/>
                </a:lnTo>
                <a:lnTo>
                  <a:pt x="2083" y="1202"/>
                </a:lnTo>
                <a:lnTo>
                  <a:pt x="2083" y="1278"/>
                </a:lnTo>
                <a:lnTo>
                  <a:pt x="2055" y="1278"/>
                </a:lnTo>
                <a:lnTo>
                  <a:pt x="2055" y="1344"/>
                </a:lnTo>
                <a:lnTo>
                  <a:pt x="2031" y="1344"/>
                </a:lnTo>
                <a:lnTo>
                  <a:pt x="2031" y="1019"/>
                </a:lnTo>
                <a:lnTo>
                  <a:pt x="1969" y="1019"/>
                </a:lnTo>
                <a:lnTo>
                  <a:pt x="1969" y="1071"/>
                </a:lnTo>
                <a:lnTo>
                  <a:pt x="1872" y="1071"/>
                </a:lnTo>
                <a:lnTo>
                  <a:pt x="1872" y="1140"/>
                </a:lnTo>
                <a:lnTo>
                  <a:pt x="1845" y="1140"/>
                </a:lnTo>
                <a:lnTo>
                  <a:pt x="1845" y="1036"/>
                </a:lnTo>
                <a:lnTo>
                  <a:pt x="1696" y="1036"/>
                </a:lnTo>
                <a:lnTo>
                  <a:pt x="1696" y="1209"/>
                </a:lnTo>
                <a:lnTo>
                  <a:pt x="1620" y="1209"/>
                </a:lnTo>
                <a:lnTo>
                  <a:pt x="1620" y="929"/>
                </a:lnTo>
                <a:lnTo>
                  <a:pt x="1582" y="929"/>
                </a:lnTo>
                <a:lnTo>
                  <a:pt x="1582" y="843"/>
                </a:lnTo>
                <a:lnTo>
                  <a:pt x="1555" y="843"/>
                </a:lnTo>
                <a:lnTo>
                  <a:pt x="1555" y="929"/>
                </a:lnTo>
                <a:lnTo>
                  <a:pt x="1472" y="929"/>
                </a:lnTo>
                <a:lnTo>
                  <a:pt x="1472" y="874"/>
                </a:lnTo>
                <a:lnTo>
                  <a:pt x="1447" y="874"/>
                </a:lnTo>
                <a:lnTo>
                  <a:pt x="1447" y="953"/>
                </a:lnTo>
                <a:lnTo>
                  <a:pt x="1416" y="953"/>
                </a:lnTo>
                <a:lnTo>
                  <a:pt x="1416" y="1274"/>
                </a:lnTo>
                <a:lnTo>
                  <a:pt x="1382" y="1274"/>
                </a:lnTo>
                <a:lnTo>
                  <a:pt x="1382" y="929"/>
                </a:lnTo>
                <a:lnTo>
                  <a:pt x="1354" y="929"/>
                </a:lnTo>
                <a:lnTo>
                  <a:pt x="1354" y="867"/>
                </a:lnTo>
                <a:lnTo>
                  <a:pt x="1320" y="867"/>
                </a:lnTo>
                <a:lnTo>
                  <a:pt x="1320" y="939"/>
                </a:lnTo>
                <a:lnTo>
                  <a:pt x="1302" y="939"/>
                </a:lnTo>
                <a:lnTo>
                  <a:pt x="1302" y="1133"/>
                </a:lnTo>
                <a:lnTo>
                  <a:pt x="1285" y="1133"/>
                </a:lnTo>
                <a:lnTo>
                  <a:pt x="1285" y="1378"/>
                </a:lnTo>
                <a:lnTo>
                  <a:pt x="1264" y="1378"/>
                </a:lnTo>
                <a:lnTo>
                  <a:pt x="1264" y="1243"/>
                </a:lnTo>
                <a:lnTo>
                  <a:pt x="1240" y="1243"/>
                </a:lnTo>
                <a:lnTo>
                  <a:pt x="1240" y="701"/>
                </a:lnTo>
                <a:lnTo>
                  <a:pt x="1216" y="701"/>
                </a:lnTo>
                <a:lnTo>
                  <a:pt x="1216" y="597"/>
                </a:lnTo>
                <a:lnTo>
                  <a:pt x="1026" y="597"/>
                </a:lnTo>
                <a:lnTo>
                  <a:pt x="1026" y="708"/>
                </a:lnTo>
                <a:lnTo>
                  <a:pt x="1009" y="708"/>
                </a:lnTo>
                <a:lnTo>
                  <a:pt x="1009" y="324"/>
                </a:lnTo>
                <a:lnTo>
                  <a:pt x="933" y="324"/>
                </a:lnTo>
                <a:lnTo>
                  <a:pt x="933" y="262"/>
                </a:lnTo>
                <a:lnTo>
                  <a:pt x="881" y="262"/>
                </a:lnTo>
                <a:lnTo>
                  <a:pt x="881" y="338"/>
                </a:lnTo>
                <a:lnTo>
                  <a:pt x="857" y="338"/>
                </a:lnTo>
                <a:lnTo>
                  <a:pt x="857" y="1243"/>
                </a:lnTo>
                <a:lnTo>
                  <a:pt x="812" y="1243"/>
                </a:lnTo>
                <a:lnTo>
                  <a:pt x="812" y="939"/>
                </a:lnTo>
                <a:lnTo>
                  <a:pt x="795" y="939"/>
                </a:lnTo>
                <a:lnTo>
                  <a:pt x="795" y="590"/>
                </a:lnTo>
                <a:lnTo>
                  <a:pt x="784" y="566"/>
                </a:lnTo>
                <a:lnTo>
                  <a:pt x="784" y="183"/>
                </a:lnTo>
                <a:lnTo>
                  <a:pt x="757" y="183"/>
                </a:lnTo>
                <a:lnTo>
                  <a:pt x="757" y="0"/>
                </a:lnTo>
                <a:lnTo>
                  <a:pt x="670" y="0"/>
                </a:lnTo>
                <a:lnTo>
                  <a:pt x="670" y="155"/>
                </a:lnTo>
                <a:lnTo>
                  <a:pt x="646" y="155"/>
                </a:lnTo>
                <a:lnTo>
                  <a:pt x="646" y="228"/>
                </a:lnTo>
                <a:lnTo>
                  <a:pt x="629" y="228"/>
                </a:lnTo>
                <a:lnTo>
                  <a:pt x="629" y="642"/>
                </a:lnTo>
                <a:lnTo>
                  <a:pt x="598" y="642"/>
                </a:lnTo>
                <a:lnTo>
                  <a:pt x="598" y="456"/>
                </a:lnTo>
                <a:lnTo>
                  <a:pt x="387" y="456"/>
                </a:lnTo>
                <a:lnTo>
                  <a:pt x="387" y="698"/>
                </a:lnTo>
                <a:lnTo>
                  <a:pt x="332" y="698"/>
                </a:lnTo>
                <a:lnTo>
                  <a:pt x="332" y="653"/>
                </a:lnTo>
                <a:lnTo>
                  <a:pt x="294" y="653"/>
                </a:lnTo>
                <a:lnTo>
                  <a:pt x="294" y="722"/>
                </a:lnTo>
                <a:lnTo>
                  <a:pt x="221" y="722"/>
                </a:lnTo>
                <a:lnTo>
                  <a:pt x="221" y="604"/>
                </a:lnTo>
                <a:lnTo>
                  <a:pt x="163" y="604"/>
                </a:lnTo>
                <a:lnTo>
                  <a:pt x="163" y="521"/>
                </a:lnTo>
                <a:lnTo>
                  <a:pt x="121" y="521"/>
                </a:lnTo>
                <a:lnTo>
                  <a:pt x="121" y="587"/>
                </a:lnTo>
                <a:lnTo>
                  <a:pt x="0" y="587"/>
                </a:lnTo>
                <a:lnTo>
                  <a:pt x="0" y="1503"/>
                </a:lnTo>
                <a:lnTo>
                  <a:pt x="0" y="2501"/>
                </a:lnTo>
                <a:lnTo>
                  <a:pt x="2394" y="2501"/>
                </a:lnTo>
                <a:lnTo>
                  <a:pt x="2394" y="1385"/>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lvl="0"/>
            <a:endParaRPr lang="en-US" sz="1765" dirty="0"/>
          </a:p>
        </p:txBody>
      </p:sp>
      <p:sp>
        <p:nvSpPr>
          <p:cNvPr id="91" name="Freeform 20"/>
          <p:cNvSpPr>
            <a:spLocks noEditPoints="1"/>
          </p:cNvSpPr>
          <p:nvPr userDrawn="1"/>
        </p:nvSpPr>
        <p:spPr bwMode="auto">
          <a:xfrm>
            <a:off x="8105463" y="303197"/>
            <a:ext cx="535365" cy="5781420"/>
          </a:xfrm>
          <a:custGeom>
            <a:avLst/>
            <a:gdLst>
              <a:gd name="T0" fmla="*/ 51 w 93"/>
              <a:gd name="T1" fmla="*/ 1003 h 1003"/>
              <a:gd name="T2" fmla="*/ 51 w 93"/>
              <a:gd name="T3" fmla="*/ 1002 h 1003"/>
              <a:gd name="T4" fmla="*/ 42 w 93"/>
              <a:gd name="T5" fmla="*/ 1002 h 1003"/>
              <a:gd name="T6" fmla="*/ 42 w 93"/>
              <a:gd name="T7" fmla="*/ 1003 h 1003"/>
              <a:gd name="T8" fmla="*/ 0 w 93"/>
              <a:gd name="T9" fmla="*/ 1003 h 1003"/>
              <a:gd name="T10" fmla="*/ 34 w 93"/>
              <a:gd name="T11" fmla="*/ 384 h 1003"/>
              <a:gd name="T12" fmla="*/ 4 w 93"/>
              <a:gd name="T13" fmla="*/ 370 h 1003"/>
              <a:gd name="T14" fmla="*/ 13 w 93"/>
              <a:gd name="T15" fmla="*/ 360 h 1003"/>
              <a:gd name="T16" fmla="*/ 3 w 93"/>
              <a:gd name="T17" fmla="*/ 344 h 1003"/>
              <a:gd name="T18" fmla="*/ 15 w 93"/>
              <a:gd name="T19" fmla="*/ 325 h 1003"/>
              <a:gd name="T20" fmla="*/ 15 w 93"/>
              <a:gd name="T21" fmla="*/ 324 h 1003"/>
              <a:gd name="T22" fmla="*/ 29 w 93"/>
              <a:gd name="T23" fmla="*/ 309 h 1003"/>
              <a:gd name="T24" fmla="*/ 35 w 93"/>
              <a:gd name="T25" fmla="*/ 309 h 1003"/>
              <a:gd name="T26" fmla="*/ 35 w 93"/>
              <a:gd name="T27" fmla="*/ 300 h 1003"/>
              <a:gd name="T28" fmla="*/ 35 w 93"/>
              <a:gd name="T29" fmla="*/ 300 h 1003"/>
              <a:gd name="T30" fmla="*/ 29 w 93"/>
              <a:gd name="T31" fmla="*/ 294 h 1003"/>
              <a:gd name="T32" fmla="*/ 35 w 93"/>
              <a:gd name="T33" fmla="*/ 288 h 1003"/>
              <a:gd name="T34" fmla="*/ 35 w 93"/>
              <a:gd name="T35" fmla="*/ 288 h 1003"/>
              <a:gd name="T36" fmla="*/ 35 w 93"/>
              <a:gd name="T37" fmla="*/ 178 h 1003"/>
              <a:gd name="T38" fmla="*/ 58 w 93"/>
              <a:gd name="T39" fmla="*/ 178 h 1003"/>
              <a:gd name="T40" fmla="*/ 58 w 93"/>
              <a:gd name="T41" fmla="*/ 288 h 1003"/>
              <a:gd name="T42" fmla="*/ 58 w 93"/>
              <a:gd name="T43" fmla="*/ 288 h 1003"/>
              <a:gd name="T44" fmla="*/ 64 w 93"/>
              <a:gd name="T45" fmla="*/ 294 h 1003"/>
              <a:gd name="T46" fmla="*/ 58 w 93"/>
              <a:gd name="T47" fmla="*/ 300 h 1003"/>
              <a:gd name="T48" fmla="*/ 58 w 93"/>
              <a:gd name="T49" fmla="*/ 300 h 1003"/>
              <a:gd name="T50" fmla="*/ 58 w 93"/>
              <a:gd name="T51" fmla="*/ 309 h 1003"/>
              <a:gd name="T52" fmla="*/ 63 w 93"/>
              <a:gd name="T53" fmla="*/ 309 h 1003"/>
              <a:gd name="T54" fmla="*/ 78 w 93"/>
              <a:gd name="T55" fmla="*/ 324 h 1003"/>
              <a:gd name="T56" fmla="*/ 78 w 93"/>
              <a:gd name="T57" fmla="*/ 325 h 1003"/>
              <a:gd name="T58" fmla="*/ 90 w 93"/>
              <a:gd name="T59" fmla="*/ 344 h 1003"/>
              <a:gd name="T60" fmla="*/ 80 w 93"/>
              <a:gd name="T61" fmla="*/ 360 h 1003"/>
              <a:gd name="T62" fmla="*/ 89 w 93"/>
              <a:gd name="T63" fmla="*/ 370 h 1003"/>
              <a:gd name="T64" fmla="*/ 59 w 93"/>
              <a:gd name="T65" fmla="*/ 384 h 1003"/>
              <a:gd name="T66" fmla="*/ 93 w 93"/>
              <a:gd name="T67" fmla="*/ 1003 h 1003"/>
              <a:gd name="T68" fmla="*/ 51 w 93"/>
              <a:gd name="T69" fmla="*/ 1003 h 1003"/>
              <a:gd name="T70" fmla="*/ 63 w 93"/>
              <a:gd name="T71" fmla="*/ 177 h 1003"/>
              <a:gd name="T72" fmla="*/ 53 w 93"/>
              <a:gd name="T73" fmla="*/ 165 h 1003"/>
              <a:gd name="T74" fmla="*/ 53 w 93"/>
              <a:gd name="T75" fmla="*/ 94 h 1003"/>
              <a:gd name="T76" fmla="*/ 51 w 93"/>
              <a:gd name="T77" fmla="*/ 94 h 1003"/>
              <a:gd name="T78" fmla="*/ 51 w 93"/>
              <a:gd name="T79" fmla="*/ 66 h 1003"/>
              <a:gd name="T80" fmla="*/ 50 w 93"/>
              <a:gd name="T81" fmla="*/ 66 h 1003"/>
              <a:gd name="T82" fmla="*/ 50 w 93"/>
              <a:gd name="T83" fmla="*/ 35 h 1003"/>
              <a:gd name="T84" fmla="*/ 49 w 93"/>
              <a:gd name="T85" fmla="*/ 35 h 1003"/>
              <a:gd name="T86" fmla="*/ 49 w 93"/>
              <a:gd name="T87" fmla="*/ 0 h 1003"/>
              <a:gd name="T88" fmla="*/ 44 w 93"/>
              <a:gd name="T89" fmla="*/ 0 h 1003"/>
              <a:gd name="T90" fmla="*/ 44 w 93"/>
              <a:gd name="T91" fmla="*/ 35 h 1003"/>
              <a:gd name="T92" fmla="*/ 43 w 93"/>
              <a:gd name="T93" fmla="*/ 35 h 1003"/>
              <a:gd name="T94" fmla="*/ 43 w 93"/>
              <a:gd name="T95" fmla="*/ 66 h 1003"/>
              <a:gd name="T96" fmla="*/ 42 w 93"/>
              <a:gd name="T97" fmla="*/ 66 h 1003"/>
              <a:gd name="T98" fmla="*/ 42 w 93"/>
              <a:gd name="T99" fmla="*/ 94 h 1003"/>
              <a:gd name="T100" fmla="*/ 40 w 93"/>
              <a:gd name="T101" fmla="*/ 94 h 1003"/>
              <a:gd name="T102" fmla="*/ 40 w 93"/>
              <a:gd name="T103" fmla="*/ 165 h 1003"/>
              <a:gd name="T104" fmla="*/ 29 w 93"/>
              <a:gd name="T105" fmla="*/ 177 h 1003"/>
              <a:gd name="T106" fmla="*/ 29 w 93"/>
              <a:gd name="T107" fmla="*/ 177 h 1003"/>
              <a:gd name="T108" fmla="*/ 63 w 93"/>
              <a:gd name="T109" fmla="*/ 177 h 1003"/>
              <a:gd name="T110" fmla="*/ 63 w 93"/>
              <a:gd name="T111" fmla="*/ 177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 h="1003">
                <a:moveTo>
                  <a:pt x="51" y="1003"/>
                </a:moveTo>
                <a:cubicBezTo>
                  <a:pt x="51" y="1002"/>
                  <a:pt x="51" y="1002"/>
                  <a:pt x="51" y="1002"/>
                </a:cubicBezTo>
                <a:cubicBezTo>
                  <a:pt x="42" y="1002"/>
                  <a:pt x="42" y="1002"/>
                  <a:pt x="42" y="1002"/>
                </a:cubicBezTo>
                <a:cubicBezTo>
                  <a:pt x="42" y="1003"/>
                  <a:pt x="42" y="1003"/>
                  <a:pt x="42" y="1003"/>
                </a:cubicBezTo>
                <a:cubicBezTo>
                  <a:pt x="0" y="1003"/>
                  <a:pt x="0" y="1003"/>
                  <a:pt x="0" y="1003"/>
                </a:cubicBezTo>
                <a:cubicBezTo>
                  <a:pt x="0" y="1003"/>
                  <a:pt x="25" y="599"/>
                  <a:pt x="34" y="384"/>
                </a:cubicBezTo>
                <a:cubicBezTo>
                  <a:pt x="17" y="382"/>
                  <a:pt x="4" y="377"/>
                  <a:pt x="4" y="370"/>
                </a:cubicBezTo>
                <a:cubicBezTo>
                  <a:pt x="4" y="366"/>
                  <a:pt x="8" y="363"/>
                  <a:pt x="13" y="360"/>
                </a:cubicBezTo>
                <a:cubicBezTo>
                  <a:pt x="7" y="356"/>
                  <a:pt x="3" y="350"/>
                  <a:pt x="3" y="344"/>
                </a:cubicBezTo>
                <a:cubicBezTo>
                  <a:pt x="3" y="336"/>
                  <a:pt x="8" y="330"/>
                  <a:pt x="15" y="325"/>
                </a:cubicBezTo>
                <a:cubicBezTo>
                  <a:pt x="15" y="324"/>
                  <a:pt x="15" y="324"/>
                  <a:pt x="15" y="324"/>
                </a:cubicBezTo>
                <a:cubicBezTo>
                  <a:pt x="15" y="316"/>
                  <a:pt x="22" y="309"/>
                  <a:pt x="29" y="309"/>
                </a:cubicBezTo>
                <a:cubicBezTo>
                  <a:pt x="35" y="309"/>
                  <a:pt x="35" y="309"/>
                  <a:pt x="35" y="309"/>
                </a:cubicBezTo>
                <a:cubicBezTo>
                  <a:pt x="35" y="300"/>
                  <a:pt x="35" y="300"/>
                  <a:pt x="35" y="300"/>
                </a:cubicBezTo>
                <a:cubicBezTo>
                  <a:pt x="35" y="300"/>
                  <a:pt x="35" y="300"/>
                  <a:pt x="35" y="300"/>
                </a:cubicBezTo>
                <a:cubicBezTo>
                  <a:pt x="31" y="300"/>
                  <a:pt x="29" y="297"/>
                  <a:pt x="29" y="294"/>
                </a:cubicBezTo>
                <a:cubicBezTo>
                  <a:pt x="29" y="291"/>
                  <a:pt x="31" y="288"/>
                  <a:pt x="35" y="288"/>
                </a:cubicBezTo>
                <a:cubicBezTo>
                  <a:pt x="35" y="288"/>
                  <a:pt x="35" y="288"/>
                  <a:pt x="35" y="288"/>
                </a:cubicBezTo>
                <a:cubicBezTo>
                  <a:pt x="35" y="178"/>
                  <a:pt x="35" y="178"/>
                  <a:pt x="35" y="178"/>
                </a:cubicBezTo>
                <a:cubicBezTo>
                  <a:pt x="58" y="178"/>
                  <a:pt x="58" y="178"/>
                  <a:pt x="58" y="178"/>
                </a:cubicBezTo>
                <a:cubicBezTo>
                  <a:pt x="58" y="288"/>
                  <a:pt x="58" y="288"/>
                  <a:pt x="58" y="288"/>
                </a:cubicBezTo>
                <a:cubicBezTo>
                  <a:pt x="58" y="288"/>
                  <a:pt x="58" y="288"/>
                  <a:pt x="58" y="288"/>
                </a:cubicBezTo>
                <a:cubicBezTo>
                  <a:pt x="62" y="288"/>
                  <a:pt x="64" y="291"/>
                  <a:pt x="64" y="294"/>
                </a:cubicBezTo>
                <a:cubicBezTo>
                  <a:pt x="64" y="297"/>
                  <a:pt x="62" y="300"/>
                  <a:pt x="58" y="300"/>
                </a:cubicBezTo>
                <a:cubicBezTo>
                  <a:pt x="58" y="300"/>
                  <a:pt x="58" y="300"/>
                  <a:pt x="58" y="300"/>
                </a:cubicBezTo>
                <a:cubicBezTo>
                  <a:pt x="58" y="309"/>
                  <a:pt x="58" y="309"/>
                  <a:pt x="58" y="309"/>
                </a:cubicBezTo>
                <a:cubicBezTo>
                  <a:pt x="63" y="309"/>
                  <a:pt x="63" y="309"/>
                  <a:pt x="63" y="309"/>
                </a:cubicBezTo>
                <a:cubicBezTo>
                  <a:pt x="71" y="309"/>
                  <a:pt x="78" y="316"/>
                  <a:pt x="78" y="324"/>
                </a:cubicBezTo>
                <a:cubicBezTo>
                  <a:pt x="78" y="325"/>
                  <a:pt x="78" y="325"/>
                  <a:pt x="78" y="325"/>
                </a:cubicBezTo>
                <a:cubicBezTo>
                  <a:pt x="85" y="330"/>
                  <a:pt x="90" y="336"/>
                  <a:pt x="90" y="344"/>
                </a:cubicBezTo>
                <a:cubicBezTo>
                  <a:pt x="90" y="350"/>
                  <a:pt x="86" y="356"/>
                  <a:pt x="80" y="360"/>
                </a:cubicBezTo>
                <a:cubicBezTo>
                  <a:pt x="85" y="363"/>
                  <a:pt x="89" y="366"/>
                  <a:pt x="89" y="370"/>
                </a:cubicBezTo>
                <a:cubicBezTo>
                  <a:pt x="89" y="377"/>
                  <a:pt x="76" y="382"/>
                  <a:pt x="59" y="384"/>
                </a:cubicBezTo>
                <a:cubicBezTo>
                  <a:pt x="68" y="599"/>
                  <a:pt x="93" y="1003"/>
                  <a:pt x="93" y="1003"/>
                </a:cubicBezTo>
                <a:lnTo>
                  <a:pt x="51" y="1003"/>
                </a:lnTo>
                <a:close/>
                <a:moveTo>
                  <a:pt x="63" y="177"/>
                </a:moveTo>
                <a:cubicBezTo>
                  <a:pt x="63" y="171"/>
                  <a:pt x="59" y="167"/>
                  <a:pt x="53" y="165"/>
                </a:cubicBezTo>
                <a:cubicBezTo>
                  <a:pt x="53" y="94"/>
                  <a:pt x="53" y="94"/>
                  <a:pt x="53" y="94"/>
                </a:cubicBezTo>
                <a:cubicBezTo>
                  <a:pt x="51" y="94"/>
                  <a:pt x="51" y="94"/>
                  <a:pt x="51" y="94"/>
                </a:cubicBezTo>
                <a:cubicBezTo>
                  <a:pt x="51" y="66"/>
                  <a:pt x="51" y="66"/>
                  <a:pt x="51" y="66"/>
                </a:cubicBezTo>
                <a:cubicBezTo>
                  <a:pt x="50" y="66"/>
                  <a:pt x="50" y="66"/>
                  <a:pt x="50" y="66"/>
                </a:cubicBezTo>
                <a:cubicBezTo>
                  <a:pt x="50" y="35"/>
                  <a:pt x="50" y="35"/>
                  <a:pt x="50" y="35"/>
                </a:cubicBezTo>
                <a:cubicBezTo>
                  <a:pt x="49" y="35"/>
                  <a:pt x="49" y="35"/>
                  <a:pt x="49" y="35"/>
                </a:cubicBezTo>
                <a:cubicBezTo>
                  <a:pt x="49" y="0"/>
                  <a:pt x="49" y="0"/>
                  <a:pt x="49" y="0"/>
                </a:cubicBezTo>
                <a:cubicBezTo>
                  <a:pt x="44" y="0"/>
                  <a:pt x="44" y="0"/>
                  <a:pt x="44" y="0"/>
                </a:cubicBezTo>
                <a:cubicBezTo>
                  <a:pt x="44" y="35"/>
                  <a:pt x="44" y="35"/>
                  <a:pt x="44" y="35"/>
                </a:cubicBezTo>
                <a:cubicBezTo>
                  <a:pt x="43" y="35"/>
                  <a:pt x="43" y="35"/>
                  <a:pt x="43" y="35"/>
                </a:cubicBezTo>
                <a:cubicBezTo>
                  <a:pt x="43" y="66"/>
                  <a:pt x="43" y="66"/>
                  <a:pt x="43" y="66"/>
                </a:cubicBezTo>
                <a:cubicBezTo>
                  <a:pt x="42" y="66"/>
                  <a:pt x="42" y="66"/>
                  <a:pt x="42" y="66"/>
                </a:cubicBezTo>
                <a:cubicBezTo>
                  <a:pt x="42" y="94"/>
                  <a:pt x="42" y="94"/>
                  <a:pt x="42" y="94"/>
                </a:cubicBezTo>
                <a:cubicBezTo>
                  <a:pt x="40" y="94"/>
                  <a:pt x="40" y="94"/>
                  <a:pt x="40" y="94"/>
                </a:cubicBezTo>
                <a:cubicBezTo>
                  <a:pt x="40" y="165"/>
                  <a:pt x="40" y="165"/>
                  <a:pt x="40" y="165"/>
                </a:cubicBezTo>
                <a:cubicBezTo>
                  <a:pt x="34" y="167"/>
                  <a:pt x="29" y="171"/>
                  <a:pt x="29" y="177"/>
                </a:cubicBezTo>
                <a:cubicBezTo>
                  <a:pt x="29" y="177"/>
                  <a:pt x="29" y="177"/>
                  <a:pt x="29" y="177"/>
                </a:cubicBezTo>
                <a:cubicBezTo>
                  <a:pt x="63" y="177"/>
                  <a:pt x="63" y="177"/>
                  <a:pt x="63" y="177"/>
                </a:cubicBezTo>
                <a:cubicBezTo>
                  <a:pt x="63" y="177"/>
                  <a:pt x="63" y="177"/>
                  <a:pt x="63" y="177"/>
                </a:cubicBezTo>
                <a:close/>
              </a:path>
            </a:pathLst>
          </a:custGeom>
          <a:solidFill>
            <a:schemeClr val="accent4">
              <a:lumMod val="50000"/>
            </a:schemeClr>
          </a:solidFill>
          <a:ln>
            <a:noFill/>
          </a:ln>
        </p:spPr>
        <p:txBody>
          <a:bodyPr vert="horz" wrap="square" lIns="89642" tIns="44821" rIns="89642" bIns="44821" numCol="1" anchor="t" anchorCtr="0" compatLnSpc="1">
            <a:prstTxWarp prst="textNoShape">
              <a:avLst/>
            </a:prstTxWarp>
          </a:bodyPr>
          <a:lstStyle/>
          <a:p>
            <a:endParaRPr lang="en-US" sz="1765" dirty="0"/>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grpSp>
        <p:nvGrpSpPr>
          <p:cNvPr id="6" name="Group 4"/>
          <p:cNvGrpSpPr>
            <a:grpSpLocks noChangeAspect="1"/>
          </p:cNvGrpSpPr>
          <p:nvPr userDrawn="1"/>
        </p:nvGrpSpPr>
        <p:grpSpPr bwMode="auto">
          <a:xfrm>
            <a:off x="386689" y="1299380"/>
            <a:ext cx="2541690" cy="2909434"/>
            <a:chOff x="1343" y="-743"/>
            <a:chExt cx="5148" cy="5892"/>
          </a:xfrm>
          <a:solidFill>
            <a:schemeClr val="tx1"/>
          </a:solidFill>
        </p:grpSpPr>
        <p:sp>
          <p:nvSpPr>
            <p:cNvPr id="11" name="Freeform 5"/>
            <p:cNvSpPr>
              <a:spLocks/>
            </p:cNvSpPr>
            <p:nvPr userDrawn="1"/>
          </p:nvSpPr>
          <p:spPr bwMode="auto">
            <a:xfrm>
              <a:off x="1426" y="-689"/>
              <a:ext cx="745" cy="743"/>
            </a:xfrm>
            <a:custGeom>
              <a:avLst/>
              <a:gdLst>
                <a:gd name="T0" fmla="*/ 315 w 315"/>
                <a:gd name="T1" fmla="*/ 314 h 314"/>
                <a:gd name="T2" fmla="*/ 279 w 315"/>
                <a:gd name="T3" fmla="*/ 314 h 314"/>
                <a:gd name="T4" fmla="*/ 279 w 315"/>
                <a:gd name="T5" fmla="*/ 103 h 314"/>
                <a:gd name="T6" fmla="*/ 282 w 315"/>
                <a:gd name="T7" fmla="*/ 42 h 314"/>
                <a:gd name="T8" fmla="*/ 281 w 315"/>
                <a:gd name="T9" fmla="*/ 42 h 314"/>
                <a:gd name="T10" fmla="*/ 272 w 315"/>
                <a:gd name="T11" fmla="*/ 72 h 314"/>
                <a:gd name="T12" fmla="*/ 166 w 315"/>
                <a:gd name="T13" fmla="*/ 314 h 314"/>
                <a:gd name="T14" fmla="*/ 149 w 315"/>
                <a:gd name="T15" fmla="*/ 314 h 314"/>
                <a:gd name="T16" fmla="*/ 43 w 315"/>
                <a:gd name="T17" fmla="*/ 74 h 314"/>
                <a:gd name="T18" fmla="*/ 34 w 315"/>
                <a:gd name="T19" fmla="*/ 42 h 314"/>
                <a:gd name="T20" fmla="*/ 33 w 315"/>
                <a:gd name="T21" fmla="*/ 42 h 314"/>
                <a:gd name="T22" fmla="*/ 35 w 315"/>
                <a:gd name="T23" fmla="*/ 103 h 314"/>
                <a:gd name="T24" fmla="*/ 35 w 315"/>
                <a:gd name="T25" fmla="*/ 314 h 314"/>
                <a:gd name="T26" fmla="*/ 0 w 315"/>
                <a:gd name="T27" fmla="*/ 314 h 314"/>
                <a:gd name="T28" fmla="*/ 0 w 315"/>
                <a:gd name="T29" fmla="*/ 0 h 314"/>
                <a:gd name="T30" fmla="*/ 48 w 315"/>
                <a:gd name="T31" fmla="*/ 0 h 314"/>
                <a:gd name="T32" fmla="*/ 142 w 315"/>
                <a:gd name="T33" fmla="*/ 219 h 314"/>
                <a:gd name="T34" fmla="*/ 156 w 315"/>
                <a:gd name="T35" fmla="*/ 256 h 314"/>
                <a:gd name="T36" fmla="*/ 158 w 315"/>
                <a:gd name="T37" fmla="*/ 256 h 314"/>
                <a:gd name="T38" fmla="*/ 173 w 315"/>
                <a:gd name="T39" fmla="*/ 218 h 314"/>
                <a:gd name="T40" fmla="*/ 270 w 315"/>
                <a:gd name="T41" fmla="*/ 0 h 314"/>
                <a:gd name="T42" fmla="*/ 315 w 315"/>
                <a:gd name="T43" fmla="*/ 0 h 314"/>
                <a:gd name="T44" fmla="*/ 315 w 315"/>
                <a:gd name="T4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314">
                  <a:moveTo>
                    <a:pt x="315" y="314"/>
                  </a:moveTo>
                  <a:cubicBezTo>
                    <a:pt x="279" y="314"/>
                    <a:pt x="279" y="314"/>
                    <a:pt x="279" y="314"/>
                  </a:cubicBezTo>
                  <a:cubicBezTo>
                    <a:pt x="279" y="103"/>
                    <a:pt x="279" y="103"/>
                    <a:pt x="279" y="103"/>
                  </a:cubicBezTo>
                  <a:cubicBezTo>
                    <a:pt x="279" y="86"/>
                    <a:pt x="280" y="66"/>
                    <a:pt x="282" y="42"/>
                  </a:cubicBezTo>
                  <a:cubicBezTo>
                    <a:pt x="281" y="42"/>
                    <a:pt x="281" y="42"/>
                    <a:pt x="281" y="42"/>
                  </a:cubicBezTo>
                  <a:cubicBezTo>
                    <a:pt x="277" y="56"/>
                    <a:pt x="274" y="66"/>
                    <a:pt x="272" y="72"/>
                  </a:cubicBezTo>
                  <a:cubicBezTo>
                    <a:pt x="166" y="314"/>
                    <a:pt x="166" y="314"/>
                    <a:pt x="166" y="314"/>
                  </a:cubicBezTo>
                  <a:cubicBezTo>
                    <a:pt x="149" y="314"/>
                    <a:pt x="149" y="314"/>
                    <a:pt x="149" y="314"/>
                  </a:cubicBezTo>
                  <a:cubicBezTo>
                    <a:pt x="43" y="74"/>
                    <a:pt x="43" y="74"/>
                    <a:pt x="43" y="74"/>
                  </a:cubicBezTo>
                  <a:cubicBezTo>
                    <a:pt x="40" y="68"/>
                    <a:pt x="37" y="57"/>
                    <a:pt x="34" y="42"/>
                  </a:cubicBezTo>
                  <a:cubicBezTo>
                    <a:pt x="33" y="42"/>
                    <a:pt x="33" y="42"/>
                    <a:pt x="33" y="42"/>
                  </a:cubicBezTo>
                  <a:cubicBezTo>
                    <a:pt x="34" y="54"/>
                    <a:pt x="35" y="75"/>
                    <a:pt x="35" y="103"/>
                  </a:cubicBezTo>
                  <a:cubicBezTo>
                    <a:pt x="35" y="314"/>
                    <a:pt x="35" y="314"/>
                    <a:pt x="35" y="314"/>
                  </a:cubicBezTo>
                  <a:cubicBezTo>
                    <a:pt x="0" y="314"/>
                    <a:pt x="0" y="314"/>
                    <a:pt x="0" y="314"/>
                  </a:cubicBezTo>
                  <a:cubicBezTo>
                    <a:pt x="0" y="0"/>
                    <a:pt x="0" y="0"/>
                    <a:pt x="0" y="0"/>
                  </a:cubicBezTo>
                  <a:cubicBezTo>
                    <a:pt x="48" y="0"/>
                    <a:pt x="48" y="0"/>
                    <a:pt x="48" y="0"/>
                  </a:cubicBezTo>
                  <a:cubicBezTo>
                    <a:pt x="142" y="219"/>
                    <a:pt x="142" y="219"/>
                    <a:pt x="142" y="219"/>
                  </a:cubicBezTo>
                  <a:cubicBezTo>
                    <a:pt x="150" y="235"/>
                    <a:pt x="154" y="248"/>
                    <a:pt x="156" y="256"/>
                  </a:cubicBezTo>
                  <a:cubicBezTo>
                    <a:pt x="158" y="256"/>
                    <a:pt x="158" y="256"/>
                    <a:pt x="158" y="256"/>
                  </a:cubicBezTo>
                  <a:cubicBezTo>
                    <a:pt x="165" y="236"/>
                    <a:pt x="170" y="223"/>
                    <a:pt x="173" y="218"/>
                  </a:cubicBezTo>
                  <a:cubicBezTo>
                    <a:pt x="270" y="0"/>
                    <a:pt x="270" y="0"/>
                    <a:pt x="270" y="0"/>
                  </a:cubicBezTo>
                  <a:cubicBezTo>
                    <a:pt x="315" y="0"/>
                    <a:pt x="315" y="0"/>
                    <a:pt x="315" y="0"/>
                  </a:cubicBezTo>
                  <a:lnTo>
                    <a:pt x="315" y="3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2" name="Freeform 6"/>
            <p:cNvSpPr>
              <a:spLocks noEditPoints="1"/>
            </p:cNvSpPr>
            <p:nvPr userDrawn="1"/>
          </p:nvSpPr>
          <p:spPr bwMode="auto">
            <a:xfrm>
              <a:off x="2339" y="-722"/>
              <a:ext cx="111" cy="776"/>
            </a:xfrm>
            <a:custGeom>
              <a:avLst/>
              <a:gdLst>
                <a:gd name="T0" fmla="*/ 47 w 47"/>
                <a:gd name="T1" fmla="*/ 23 h 328"/>
                <a:gd name="T2" fmla="*/ 40 w 47"/>
                <a:gd name="T3" fmla="*/ 40 h 328"/>
                <a:gd name="T4" fmla="*/ 23 w 47"/>
                <a:gd name="T5" fmla="*/ 46 h 328"/>
                <a:gd name="T6" fmla="*/ 7 w 47"/>
                <a:gd name="T7" fmla="*/ 40 h 328"/>
                <a:gd name="T8" fmla="*/ 0 w 47"/>
                <a:gd name="T9" fmla="*/ 23 h 328"/>
                <a:gd name="T10" fmla="*/ 7 w 47"/>
                <a:gd name="T11" fmla="*/ 7 h 328"/>
                <a:gd name="T12" fmla="*/ 23 w 47"/>
                <a:gd name="T13" fmla="*/ 0 h 328"/>
                <a:gd name="T14" fmla="*/ 40 w 47"/>
                <a:gd name="T15" fmla="*/ 7 h 328"/>
                <a:gd name="T16" fmla="*/ 47 w 47"/>
                <a:gd name="T17" fmla="*/ 23 h 328"/>
                <a:gd name="T18" fmla="*/ 41 w 47"/>
                <a:gd name="T19" fmla="*/ 328 h 328"/>
                <a:gd name="T20" fmla="*/ 5 w 47"/>
                <a:gd name="T21" fmla="*/ 328 h 328"/>
                <a:gd name="T22" fmla="*/ 5 w 47"/>
                <a:gd name="T23" fmla="*/ 103 h 328"/>
                <a:gd name="T24" fmla="*/ 41 w 47"/>
                <a:gd name="T25" fmla="*/ 103 h 328"/>
                <a:gd name="T26" fmla="*/ 41 w 47"/>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328">
                  <a:moveTo>
                    <a:pt x="47" y="23"/>
                  </a:moveTo>
                  <a:cubicBezTo>
                    <a:pt x="47" y="30"/>
                    <a:pt x="44" y="35"/>
                    <a:pt x="40" y="40"/>
                  </a:cubicBezTo>
                  <a:cubicBezTo>
                    <a:pt x="35" y="44"/>
                    <a:pt x="30" y="46"/>
                    <a:pt x="23" y="46"/>
                  </a:cubicBezTo>
                  <a:cubicBezTo>
                    <a:pt x="17" y="46"/>
                    <a:pt x="11" y="44"/>
                    <a:pt x="7" y="40"/>
                  </a:cubicBezTo>
                  <a:cubicBezTo>
                    <a:pt x="3" y="36"/>
                    <a:pt x="0" y="30"/>
                    <a:pt x="0" y="23"/>
                  </a:cubicBezTo>
                  <a:cubicBezTo>
                    <a:pt x="0" y="17"/>
                    <a:pt x="2" y="11"/>
                    <a:pt x="7" y="7"/>
                  </a:cubicBezTo>
                  <a:cubicBezTo>
                    <a:pt x="11" y="2"/>
                    <a:pt x="17" y="0"/>
                    <a:pt x="23" y="0"/>
                  </a:cubicBezTo>
                  <a:cubicBezTo>
                    <a:pt x="30" y="0"/>
                    <a:pt x="35" y="2"/>
                    <a:pt x="40" y="7"/>
                  </a:cubicBezTo>
                  <a:cubicBezTo>
                    <a:pt x="44" y="11"/>
                    <a:pt x="47" y="17"/>
                    <a:pt x="47" y="23"/>
                  </a:cubicBezTo>
                  <a:close/>
                  <a:moveTo>
                    <a:pt x="41" y="328"/>
                  </a:moveTo>
                  <a:cubicBezTo>
                    <a:pt x="5" y="328"/>
                    <a:pt x="5" y="328"/>
                    <a:pt x="5" y="328"/>
                  </a:cubicBezTo>
                  <a:cubicBezTo>
                    <a:pt x="5" y="103"/>
                    <a:pt x="5" y="103"/>
                    <a:pt x="5" y="103"/>
                  </a:cubicBezTo>
                  <a:cubicBezTo>
                    <a:pt x="41" y="103"/>
                    <a:pt x="41" y="103"/>
                    <a:pt x="41" y="103"/>
                  </a:cubicBezTo>
                  <a:lnTo>
                    <a:pt x="41"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4" name="Freeform 7"/>
            <p:cNvSpPr>
              <a:spLocks/>
            </p:cNvSpPr>
            <p:nvPr userDrawn="1"/>
          </p:nvSpPr>
          <p:spPr bwMode="auto">
            <a:xfrm>
              <a:off x="2564" y="-490"/>
              <a:ext cx="393" cy="555"/>
            </a:xfrm>
            <a:custGeom>
              <a:avLst/>
              <a:gdLst>
                <a:gd name="T0" fmla="*/ 166 w 166"/>
                <a:gd name="T1" fmla="*/ 219 h 235"/>
                <a:gd name="T2" fmla="*/ 105 w 166"/>
                <a:gd name="T3" fmla="*/ 235 h 235"/>
                <a:gd name="T4" fmla="*/ 51 w 166"/>
                <a:gd name="T5" fmla="*/ 221 h 235"/>
                <a:gd name="T6" fmla="*/ 14 w 166"/>
                <a:gd name="T7" fmla="*/ 181 h 235"/>
                <a:gd name="T8" fmla="*/ 0 w 166"/>
                <a:gd name="T9" fmla="*/ 123 h 235"/>
                <a:gd name="T10" fmla="*/ 32 w 166"/>
                <a:gd name="T11" fmla="*/ 34 h 235"/>
                <a:gd name="T12" fmla="*/ 115 w 166"/>
                <a:gd name="T13" fmla="*/ 0 h 235"/>
                <a:gd name="T14" fmla="*/ 166 w 166"/>
                <a:gd name="T15" fmla="*/ 11 h 235"/>
                <a:gd name="T16" fmla="*/ 166 w 166"/>
                <a:gd name="T17" fmla="*/ 48 h 235"/>
                <a:gd name="T18" fmla="*/ 114 w 166"/>
                <a:gd name="T19" fmla="*/ 31 h 235"/>
                <a:gd name="T20" fmla="*/ 58 w 166"/>
                <a:gd name="T21" fmla="*/ 55 h 235"/>
                <a:gd name="T22" fmla="*/ 37 w 166"/>
                <a:gd name="T23" fmla="*/ 120 h 235"/>
                <a:gd name="T24" fmla="*/ 57 w 166"/>
                <a:gd name="T25" fmla="*/ 182 h 235"/>
                <a:gd name="T26" fmla="*/ 111 w 166"/>
                <a:gd name="T27" fmla="*/ 204 h 235"/>
                <a:gd name="T28" fmla="*/ 166 w 166"/>
                <a:gd name="T29" fmla="*/ 185 h 235"/>
                <a:gd name="T30" fmla="*/ 166 w 166"/>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6" h="235">
                  <a:moveTo>
                    <a:pt x="166" y="219"/>
                  </a:moveTo>
                  <a:cubicBezTo>
                    <a:pt x="149" y="230"/>
                    <a:pt x="129" y="235"/>
                    <a:pt x="105" y="235"/>
                  </a:cubicBezTo>
                  <a:cubicBezTo>
                    <a:pt x="85" y="235"/>
                    <a:pt x="67" y="230"/>
                    <a:pt x="51" y="221"/>
                  </a:cubicBezTo>
                  <a:cubicBezTo>
                    <a:pt x="35" y="212"/>
                    <a:pt x="23" y="198"/>
                    <a:pt x="14" y="181"/>
                  </a:cubicBezTo>
                  <a:cubicBezTo>
                    <a:pt x="5" y="164"/>
                    <a:pt x="0" y="144"/>
                    <a:pt x="0" y="123"/>
                  </a:cubicBezTo>
                  <a:cubicBezTo>
                    <a:pt x="0" y="86"/>
                    <a:pt x="11" y="56"/>
                    <a:pt x="32" y="34"/>
                  </a:cubicBezTo>
                  <a:cubicBezTo>
                    <a:pt x="53" y="11"/>
                    <a:pt x="80" y="0"/>
                    <a:pt x="115" y="0"/>
                  </a:cubicBezTo>
                  <a:cubicBezTo>
                    <a:pt x="134" y="0"/>
                    <a:pt x="151" y="4"/>
                    <a:pt x="166" y="11"/>
                  </a:cubicBezTo>
                  <a:cubicBezTo>
                    <a:pt x="166" y="48"/>
                    <a:pt x="166" y="48"/>
                    <a:pt x="166" y="48"/>
                  </a:cubicBezTo>
                  <a:cubicBezTo>
                    <a:pt x="150" y="36"/>
                    <a:pt x="132" y="31"/>
                    <a:pt x="114" y="31"/>
                  </a:cubicBezTo>
                  <a:cubicBezTo>
                    <a:pt x="91" y="31"/>
                    <a:pt x="72" y="39"/>
                    <a:pt x="58" y="55"/>
                  </a:cubicBezTo>
                  <a:cubicBezTo>
                    <a:pt x="44" y="72"/>
                    <a:pt x="37" y="93"/>
                    <a:pt x="37" y="120"/>
                  </a:cubicBezTo>
                  <a:cubicBezTo>
                    <a:pt x="37" y="146"/>
                    <a:pt x="43" y="166"/>
                    <a:pt x="57" y="182"/>
                  </a:cubicBezTo>
                  <a:cubicBezTo>
                    <a:pt x="70" y="197"/>
                    <a:pt x="89" y="204"/>
                    <a:pt x="111" y="204"/>
                  </a:cubicBezTo>
                  <a:cubicBezTo>
                    <a:pt x="131" y="204"/>
                    <a:pt x="149" y="198"/>
                    <a:pt x="166" y="185"/>
                  </a:cubicBezTo>
                  <a:lnTo>
                    <a:pt x="166"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5" name="Freeform 8"/>
            <p:cNvSpPr>
              <a:spLocks/>
            </p:cNvSpPr>
            <p:nvPr userDrawn="1"/>
          </p:nvSpPr>
          <p:spPr bwMode="auto">
            <a:xfrm>
              <a:off x="3082" y="-488"/>
              <a:ext cx="272" cy="542"/>
            </a:xfrm>
            <a:custGeom>
              <a:avLst/>
              <a:gdLst>
                <a:gd name="T0" fmla="*/ 115 w 115"/>
                <a:gd name="T1" fmla="*/ 41 h 229"/>
                <a:gd name="T2" fmla="*/ 88 w 115"/>
                <a:gd name="T3" fmla="*/ 33 h 229"/>
                <a:gd name="T4" fmla="*/ 50 w 115"/>
                <a:gd name="T5" fmla="*/ 56 h 229"/>
                <a:gd name="T6" fmla="*/ 36 w 115"/>
                <a:gd name="T7" fmla="*/ 114 h 229"/>
                <a:gd name="T8" fmla="*/ 36 w 115"/>
                <a:gd name="T9" fmla="*/ 229 h 229"/>
                <a:gd name="T10" fmla="*/ 0 w 115"/>
                <a:gd name="T11" fmla="*/ 229 h 229"/>
                <a:gd name="T12" fmla="*/ 0 w 115"/>
                <a:gd name="T13" fmla="*/ 4 h 229"/>
                <a:gd name="T14" fmla="*/ 36 w 115"/>
                <a:gd name="T15" fmla="*/ 4 h 229"/>
                <a:gd name="T16" fmla="*/ 36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9" y="36"/>
                    <a:pt x="100" y="33"/>
                    <a:pt x="88" y="33"/>
                  </a:cubicBezTo>
                  <a:cubicBezTo>
                    <a:pt x="73" y="33"/>
                    <a:pt x="60" y="41"/>
                    <a:pt x="50" y="56"/>
                  </a:cubicBezTo>
                  <a:cubicBezTo>
                    <a:pt x="40"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6" y="51"/>
                    <a:pt x="36" y="51"/>
                    <a:pt x="36" y="51"/>
                  </a:cubicBezTo>
                  <a:cubicBezTo>
                    <a:pt x="41" y="35"/>
                    <a:pt x="49" y="23"/>
                    <a:pt x="59" y="14"/>
                  </a:cubicBezTo>
                  <a:cubicBezTo>
                    <a:pt x="69" y="5"/>
                    <a:pt x="81"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6" name="Freeform 9"/>
            <p:cNvSpPr>
              <a:spLocks noEditPoints="1"/>
            </p:cNvSpPr>
            <p:nvPr userDrawn="1"/>
          </p:nvSpPr>
          <p:spPr bwMode="auto">
            <a:xfrm>
              <a:off x="3392" y="-490"/>
              <a:ext cx="513" cy="555"/>
            </a:xfrm>
            <a:custGeom>
              <a:avLst/>
              <a:gdLst>
                <a:gd name="T0" fmla="*/ 217 w 217"/>
                <a:gd name="T1" fmla="*/ 117 h 235"/>
                <a:gd name="T2" fmla="*/ 188 w 217"/>
                <a:gd name="T3" fmla="*/ 203 h 235"/>
                <a:gd name="T4" fmla="*/ 108 w 217"/>
                <a:gd name="T5" fmla="*/ 235 h 235"/>
                <a:gd name="T6" fmla="*/ 29 w 217"/>
                <a:gd name="T7" fmla="*/ 203 h 235"/>
                <a:gd name="T8" fmla="*/ 0 w 217"/>
                <a:gd name="T9" fmla="*/ 120 h 235"/>
                <a:gd name="T10" fmla="*/ 30 w 217"/>
                <a:gd name="T11" fmla="*/ 32 h 235"/>
                <a:gd name="T12" fmla="*/ 113 w 217"/>
                <a:gd name="T13" fmla="*/ 0 h 235"/>
                <a:gd name="T14" fmla="*/ 190 w 217"/>
                <a:gd name="T15" fmla="*/ 31 h 235"/>
                <a:gd name="T16" fmla="*/ 217 w 217"/>
                <a:gd name="T17" fmla="*/ 117 h 235"/>
                <a:gd name="T18" fmla="*/ 181 w 217"/>
                <a:gd name="T19" fmla="*/ 118 h 235"/>
                <a:gd name="T20" fmla="*/ 163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8" y="203"/>
                  </a:cubicBezTo>
                  <a:cubicBezTo>
                    <a:pt x="168" y="224"/>
                    <a:pt x="141" y="235"/>
                    <a:pt x="108" y="235"/>
                  </a:cubicBezTo>
                  <a:cubicBezTo>
                    <a:pt x="75" y="235"/>
                    <a:pt x="49" y="225"/>
                    <a:pt x="29" y="203"/>
                  </a:cubicBezTo>
                  <a:cubicBezTo>
                    <a:pt x="10" y="182"/>
                    <a:pt x="0" y="155"/>
                    <a:pt x="0" y="120"/>
                  </a:cubicBezTo>
                  <a:cubicBezTo>
                    <a:pt x="0" y="83"/>
                    <a:pt x="10" y="54"/>
                    <a:pt x="30" y="32"/>
                  </a:cubicBezTo>
                  <a:cubicBezTo>
                    <a:pt x="50" y="11"/>
                    <a:pt x="78" y="0"/>
                    <a:pt x="113" y="0"/>
                  </a:cubicBezTo>
                  <a:cubicBezTo>
                    <a:pt x="145" y="0"/>
                    <a:pt x="171" y="10"/>
                    <a:pt x="190" y="31"/>
                  </a:cubicBezTo>
                  <a:cubicBezTo>
                    <a:pt x="208" y="52"/>
                    <a:pt x="217" y="80"/>
                    <a:pt x="217" y="117"/>
                  </a:cubicBezTo>
                  <a:close/>
                  <a:moveTo>
                    <a:pt x="181" y="118"/>
                  </a:moveTo>
                  <a:cubicBezTo>
                    <a:pt x="181" y="90"/>
                    <a:pt x="175" y="68"/>
                    <a:pt x="163" y="53"/>
                  </a:cubicBezTo>
                  <a:cubicBezTo>
                    <a:pt x="151" y="38"/>
                    <a:pt x="133" y="31"/>
                    <a:pt x="110" y="31"/>
                  </a:cubicBezTo>
                  <a:cubicBezTo>
                    <a:pt x="87" y="31"/>
                    <a:pt x="69" y="38"/>
                    <a:pt x="56" y="54"/>
                  </a:cubicBezTo>
                  <a:cubicBezTo>
                    <a:pt x="43" y="69"/>
                    <a:pt x="36" y="91"/>
                    <a:pt x="36" y="119"/>
                  </a:cubicBezTo>
                  <a:cubicBezTo>
                    <a:pt x="36" y="146"/>
                    <a:pt x="43" y="167"/>
                    <a:pt x="56"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7" name="Freeform 10"/>
            <p:cNvSpPr>
              <a:spLocks/>
            </p:cNvSpPr>
            <p:nvPr userDrawn="1"/>
          </p:nvSpPr>
          <p:spPr bwMode="auto">
            <a:xfrm>
              <a:off x="4000" y="-490"/>
              <a:ext cx="322" cy="555"/>
            </a:xfrm>
            <a:custGeom>
              <a:avLst/>
              <a:gdLst>
                <a:gd name="T0" fmla="*/ 136 w 136"/>
                <a:gd name="T1" fmla="*/ 170 h 235"/>
                <a:gd name="T2" fmla="*/ 113 w 136"/>
                <a:gd name="T3" fmla="*/ 217 h 235"/>
                <a:gd name="T4" fmla="*/ 55 w 136"/>
                <a:gd name="T5" fmla="*/ 235 h 235"/>
                <a:gd name="T6" fmla="*/ 0 w 136"/>
                <a:gd name="T7" fmla="*/ 222 h 235"/>
                <a:gd name="T8" fmla="*/ 0 w 136"/>
                <a:gd name="T9" fmla="*/ 183 h 235"/>
                <a:gd name="T10" fmla="*/ 57 w 136"/>
                <a:gd name="T11" fmla="*/ 204 h 235"/>
                <a:gd name="T12" fmla="*/ 99 w 136"/>
                <a:gd name="T13" fmla="*/ 173 h 235"/>
                <a:gd name="T14" fmla="*/ 91 w 136"/>
                <a:gd name="T15" fmla="*/ 152 h 235"/>
                <a:gd name="T16" fmla="*/ 54 w 136"/>
                <a:gd name="T17" fmla="*/ 131 h 235"/>
                <a:gd name="T18" fmla="*/ 13 w 136"/>
                <a:gd name="T19" fmla="*/ 104 h 235"/>
                <a:gd name="T20" fmla="*/ 0 w 136"/>
                <a:gd name="T21" fmla="*/ 65 h 235"/>
                <a:gd name="T22" fmla="*/ 22 w 136"/>
                <a:gd name="T23" fmla="*/ 18 h 235"/>
                <a:gd name="T24" fmla="*/ 78 w 136"/>
                <a:gd name="T25" fmla="*/ 0 h 235"/>
                <a:gd name="T26" fmla="*/ 125 w 136"/>
                <a:gd name="T27" fmla="*/ 10 h 235"/>
                <a:gd name="T28" fmla="*/ 125 w 136"/>
                <a:gd name="T29" fmla="*/ 47 h 235"/>
                <a:gd name="T30" fmla="*/ 75 w 136"/>
                <a:gd name="T31" fmla="*/ 31 h 235"/>
                <a:gd name="T32" fmla="*/ 47 w 136"/>
                <a:gd name="T33" fmla="*/ 39 h 235"/>
                <a:gd name="T34" fmla="*/ 37 w 136"/>
                <a:gd name="T35" fmla="*/ 62 h 235"/>
                <a:gd name="T36" fmla="*/ 45 w 136"/>
                <a:gd name="T37" fmla="*/ 85 h 235"/>
                <a:gd name="T38" fmla="*/ 79 w 136"/>
                <a:gd name="T39" fmla="*/ 104 h 235"/>
                <a:gd name="T40" fmla="*/ 123 w 136"/>
                <a:gd name="T41" fmla="*/ 132 h 235"/>
                <a:gd name="T42" fmla="*/ 136 w 136"/>
                <a:gd name="T43" fmla="*/ 1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235">
                  <a:moveTo>
                    <a:pt x="136" y="170"/>
                  </a:moveTo>
                  <a:cubicBezTo>
                    <a:pt x="136" y="189"/>
                    <a:pt x="128" y="205"/>
                    <a:pt x="113" y="217"/>
                  </a:cubicBezTo>
                  <a:cubicBezTo>
                    <a:pt x="99" y="229"/>
                    <a:pt x="79" y="235"/>
                    <a:pt x="55" y="235"/>
                  </a:cubicBezTo>
                  <a:cubicBezTo>
                    <a:pt x="34" y="235"/>
                    <a:pt x="16" y="231"/>
                    <a:pt x="0" y="222"/>
                  </a:cubicBezTo>
                  <a:cubicBezTo>
                    <a:pt x="0" y="183"/>
                    <a:pt x="0" y="183"/>
                    <a:pt x="0" y="183"/>
                  </a:cubicBezTo>
                  <a:cubicBezTo>
                    <a:pt x="17" y="197"/>
                    <a:pt x="37" y="204"/>
                    <a:pt x="57" y="204"/>
                  </a:cubicBezTo>
                  <a:cubicBezTo>
                    <a:pt x="85" y="204"/>
                    <a:pt x="99" y="194"/>
                    <a:pt x="99" y="173"/>
                  </a:cubicBezTo>
                  <a:cubicBezTo>
                    <a:pt x="99" y="165"/>
                    <a:pt x="97" y="158"/>
                    <a:pt x="91" y="152"/>
                  </a:cubicBezTo>
                  <a:cubicBezTo>
                    <a:pt x="86" y="147"/>
                    <a:pt x="73" y="140"/>
                    <a:pt x="54" y="131"/>
                  </a:cubicBezTo>
                  <a:cubicBezTo>
                    <a:pt x="34" y="122"/>
                    <a:pt x="21" y="113"/>
                    <a:pt x="13" y="104"/>
                  </a:cubicBezTo>
                  <a:cubicBezTo>
                    <a:pt x="5" y="94"/>
                    <a:pt x="0" y="81"/>
                    <a:pt x="0" y="65"/>
                  </a:cubicBezTo>
                  <a:cubicBezTo>
                    <a:pt x="0" y="46"/>
                    <a:pt x="8" y="31"/>
                    <a:pt x="22" y="18"/>
                  </a:cubicBezTo>
                  <a:cubicBezTo>
                    <a:pt x="37" y="6"/>
                    <a:pt x="56" y="0"/>
                    <a:pt x="78" y="0"/>
                  </a:cubicBezTo>
                  <a:cubicBezTo>
                    <a:pt x="96" y="0"/>
                    <a:pt x="111" y="3"/>
                    <a:pt x="125" y="10"/>
                  </a:cubicBezTo>
                  <a:cubicBezTo>
                    <a:pt x="125" y="47"/>
                    <a:pt x="125" y="47"/>
                    <a:pt x="125" y="47"/>
                  </a:cubicBezTo>
                  <a:cubicBezTo>
                    <a:pt x="111" y="36"/>
                    <a:pt x="94" y="31"/>
                    <a:pt x="75" y="31"/>
                  </a:cubicBezTo>
                  <a:cubicBezTo>
                    <a:pt x="64" y="31"/>
                    <a:pt x="54" y="33"/>
                    <a:pt x="47" y="39"/>
                  </a:cubicBezTo>
                  <a:cubicBezTo>
                    <a:pt x="40" y="45"/>
                    <a:pt x="37" y="53"/>
                    <a:pt x="37" y="62"/>
                  </a:cubicBezTo>
                  <a:cubicBezTo>
                    <a:pt x="37" y="72"/>
                    <a:pt x="39" y="79"/>
                    <a:pt x="45" y="85"/>
                  </a:cubicBezTo>
                  <a:cubicBezTo>
                    <a:pt x="50" y="90"/>
                    <a:pt x="62" y="96"/>
                    <a:pt x="79" y="104"/>
                  </a:cubicBezTo>
                  <a:cubicBezTo>
                    <a:pt x="100" y="113"/>
                    <a:pt x="114" y="122"/>
                    <a:pt x="123" y="132"/>
                  </a:cubicBezTo>
                  <a:cubicBezTo>
                    <a:pt x="131" y="142"/>
                    <a:pt x="136" y="155"/>
                    <a:pt x="13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8" name="Freeform 11"/>
            <p:cNvSpPr>
              <a:spLocks noEditPoints="1"/>
            </p:cNvSpPr>
            <p:nvPr userDrawn="1"/>
          </p:nvSpPr>
          <p:spPr bwMode="auto">
            <a:xfrm>
              <a:off x="4402" y="-490"/>
              <a:ext cx="516" cy="555"/>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7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7"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0" name="Freeform 12"/>
            <p:cNvSpPr>
              <a:spLocks/>
            </p:cNvSpPr>
            <p:nvPr userDrawn="1"/>
          </p:nvSpPr>
          <p:spPr bwMode="auto">
            <a:xfrm>
              <a:off x="4970" y="-743"/>
              <a:ext cx="314" cy="797"/>
            </a:xfrm>
            <a:custGeom>
              <a:avLst/>
              <a:gdLst>
                <a:gd name="T0" fmla="*/ 133 w 133"/>
                <a:gd name="T1" fmla="*/ 36 h 337"/>
                <a:gd name="T2" fmla="*/ 110 w 133"/>
                <a:gd name="T3" fmla="*/ 30 h 337"/>
                <a:gd name="T4" fmla="*/ 73 w 133"/>
                <a:gd name="T5" fmla="*/ 78 h 337"/>
                <a:gd name="T6" fmla="*/ 73 w 133"/>
                <a:gd name="T7" fmla="*/ 112 h 337"/>
                <a:gd name="T8" fmla="*/ 125 w 133"/>
                <a:gd name="T9" fmla="*/ 112 h 337"/>
                <a:gd name="T10" fmla="*/ 125 w 133"/>
                <a:gd name="T11" fmla="*/ 143 h 337"/>
                <a:gd name="T12" fmla="*/ 73 w 133"/>
                <a:gd name="T13" fmla="*/ 143 h 337"/>
                <a:gd name="T14" fmla="*/ 73 w 133"/>
                <a:gd name="T15" fmla="*/ 337 h 337"/>
                <a:gd name="T16" fmla="*/ 38 w 133"/>
                <a:gd name="T17" fmla="*/ 337 h 337"/>
                <a:gd name="T18" fmla="*/ 38 w 133"/>
                <a:gd name="T19" fmla="*/ 143 h 337"/>
                <a:gd name="T20" fmla="*/ 0 w 133"/>
                <a:gd name="T21" fmla="*/ 143 h 337"/>
                <a:gd name="T22" fmla="*/ 0 w 133"/>
                <a:gd name="T23" fmla="*/ 112 h 337"/>
                <a:gd name="T24" fmla="*/ 38 w 133"/>
                <a:gd name="T25" fmla="*/ 112 h 337"/>
                <a:gd name="T26" fmla="*/ 38 w 133"/>
                <a:gd name="T27" fmla="*/ 76 h 337"/>
                <a:gd name="T28" fmla="*/ 57 w 133"/>
                <a:gd name="T29" fmla="*/ 21 h 337"/>
                <a:gd name="T30" fmla="*/ 108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7" y="32"/>
                    <a:pt x="119" y="30"/>
                    <a:pt x="110" y="30"/>
                  </a:cubicBezTo>
                  <a:cubicBezTo>
                    <a:pt x="85" y="30"/>
                    <a:pt x="73" y="46"/>
                    <a:pt x="73" y="78"/>
                  </a:cubicBezTo>
                  <a:cubicBezTo>
                    <a:pt x="73" y="112"/>
                    <a:pt x="73" y="112"/>
                    <a:pt x="73" y="112"/>
                  </a:cubicBezTo>
                  <a:cubicBezTo>
                    <a:pt x="125" y="112"/>
                    <a:pt x="125" y="112"/>
                    <a:pt x="125" y="112"/>
                  </a:cubicBezTo>
                  <a:cubicBezTo>
                    <a:pt x="125" y="143"/>
                    <a:pt x="125" y="143"/>
                    <a:pt x="125" y="143"/>
                  </a:cubicBezTo>
                  <a:cubicBezTo>
                    <a:pt x="73" y="143"/>
                    <a:pt x="73" y="143"/>
                    <a:pt x="73" y="143"/>
                  </a:cubicBezTo>
                  <a:cubicBezTo>
                    <a:pt x="73" y="337"/>
                    <a:pt x="73" y="337"/>
                    <a:pt x="73" y="337"/>
                  </a:cubicBezTo>
                  <a:cubicBezTo>
                    <a:pt x="38" y="337"/>
                    <a:pt x="38" y="337"/>
                    <a:pt x="38" y="337"/>
                  </a:cubicBezTo>
                  <a:cubicBezTo>
                    <a:pt x="38" y="143"/>
                    <a:pt x="38" y="143"/>
                    <a:pt x="38" y="143"/>
                  </a:cubicBezTo>
                  <a:cubicBezTo>
                    <a:pt x="0" y="143"/>
                    <a:pt x="0" y="143"/>
                    <a:pt x="0" y="143"/>
                  </a:cubicBezTo>
                  <a:cubicBezTo>
                    <a:pt x="0" y="112"/>
                    <a:pt x="0" y="112"/>
                    <a:pt x="0" y="112"/>
                  </a:cubicBezTo>
                  <a:cubicBezTo>
                    <a:pt x="38" y="112"/>
                    <a:pt x="38" y="112"/>
                    <a:pt x="38" y="112"/>
                  </a:cubicBezTo>
                  <a:cubicBezTo>
                    <a:pt x="38" y="76"/>
                    <a:pt x="38" y="76"/>
                    <a:pt x="38" y="76"/>
                  </a:cubicBezTo>
                  <a:cubicBezTo>
                    <a:pt x="38" y="53"/>
                    <a:pt x="44" y="35"/>
                    <a:pt x="57" y="21"/>
                  </a:cubicBezTo>
                  <a:cubicBezTo>
                    <a:pt x="71" y="7"/>
                    <a:pt x="87" y="0"/>
                    <a:pt x="108" y="0"/>
                  </a:cubicBezTo>
                  <a:cubicBezTo>
                    <a:pt x="119"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1" name="Freeform 13"/>
            <p:cNvSpPr>
              <a:spLocks/>
            </p:cNvSpPr>
            <p:nvPr userDrawn="1"/>
          </p:nvSpPr>
          <p:spPr bwMode="auto">
            <a:xfrm>
              <a:off x="5310" y="-635"/>
              <a:ext cx="305" cy="700"/>
            </a:xfrm>
            <a:custGeom>
              <a:avLst/>
              <a:gdLst>
                <a:gd name="T0" fmla="*/ 129 w 129"/>
                <a:gd name="T1" fmla="*/ 288 h 296"/>
                <a:gd name="T2" fmla="*/ 96 w 129"/>
                <a:gd name="T3" fmla="*/ 296 h 296"/>
                <a:gd name="T4" fmla="*/ 38 w 129"/>
                <a:gd name="T5" fmla="*/ 230 h 296"/>
                <a:gd name="T6" fmla="*/ 38 w 129"/>
                <a:gd name="T7" fmla="*/ 97 h 296"/>
                <a:gd name="T8" fmla="*/ 0 w 129"/>
                <a:gd name="T9" fmla="*/ 97 h 296"/>
                <a:gd name="T10" fmla="*/ 0 w 129"/>
                <a:gd name="T11" fmla="*/ 66 h 296"/>
                <a:gd name="T12" fmla="*/ 38 w 129"/>
                <a:gd name="T13" fmla="*/ 66 h 296"/>
                <a:gd name="T14" fmla="*/ 38 w 129"/>
                <a:gd name="T15" fmla="*/ 12 h 296"/>
                <a:gd name="T16" fmla="*/ 73 w 129"/>
                <a:gd name="T17" fmla="*/ 0 h 296"/>
                <a:gd name="T18" fmla="*/ 73 w 129"/>
                <a:gd name="T19" fmla="*/ 66 h 296"/>
                <a:gd name="T20" fmla="*/ 129 w 129"/>
                <a:gd name="T21" fmla="*/ 66 h 296"/>
                <a:gd name="T22" fmla="*/ 129 w 129"/>
                <a:gd name="T23" fmla="*/ 97 h 296"/>
                <a:gd name="T24" fmla="*/ 73 w 129"/>
                <a:gd name="T25" fmla="*/ 97 h 296"/>
                <a:gd name="T26" fmla="*/ 73 w 129"/>
                <a:gd name="T27" fmla="*/ 223 h 296"/>
                <a:gd name="T28" fmla="*/ 81 w 129"/>
                <a:gd name="T29" fmla="*/ 255 h 296"/>
                <a:gd name="T30" fmla="*/ 106 w 129"/>
                <a:gd name="T31" fmla="*/ 265 h 296"/>
                <a:gd name="T32" fmla="*/ 129 w 129"/>
                <a:gd name="T33" fmla="*/ 258 h 296"/>
                <a:gd name="T34" fmla="*/ 129 w 129"/>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296">
                  <a:moveTo>
                    <a:pt x="129" y="288"/>
                  </a:moveTo>
                  <a:cubicBezTo>
                    <a:pt x="120" y="293"/>
                    <a:pt x="109" y="296"/>
                    <a:pt x="96" y="296"/>
                  </a:cubicBezTo>
                  <a:cubicBezTo>
                    <a:pt x="57" y="296"/>
                    <a:pt x="38" y="274"/>
                    <a:pt x="38" y="230"/>
                  </a:cubicBezTo>
                  <a:cubicBezTo>
                    <a:pt x="38" y="97"/>
                    <a:pt x="38" y="97"/>
                    <a:pt x="38" y="97"/>
                  </a:cubicBezTo>
                  <a:cubicBezTo>
                    <a:pt x="0" y="97"/>
                    <a:pt x="0" y="97"/>
                    <a:pt x="0" y="97"/>
                  </a:cubicBezTo>
                  <a:cubicBezTo>
                    <a:pt x="0" y="66"/>
                    <a:pt x="0" y="66"/>
                    <a:pt x="0" y="66"/>
                  </a:cubicBezTo>
                  <a:cubicBezTo>
                    <a:pt x="38" y="66"/>
                    <a:pt x="38" y="66"/>
                    <a:pt x="38" y="66"/>
                  </a:cubicBezTo>
                  <a:cubicBezTo>
                    <a:pt x="38" y="12"/>
                    <a:pt x="38" y="12"/>
                    <a:pt x="38" y="12"/>
                  </a:cubicBezTo>
                  <a:cubicBezTo>
                    <a:pt x="73" y="0"/>
                    <a:pt x="73" y="0"/>
                    <a:pt x="73" y="0"/>
                  </a:cubicBezTo>
                  <a:cubicBezTo>
                    <a:pt x="73" y="66"/>
                    <a:pt x="73" y="66"/>
                    <a:pt x="73" y="66"/>
                  </a:cubicBezTo>
                  <a:cubicBezTo>
                    <a:pt x="129" y="66"/>
                    <a:pt x="129" y="66"/>
                    <a:pt x="129" y="66"/>
                  </a:cubicBezTo>
                  <a:cubicBezTo>
                    <a:pt x="129" y="97"/>
                    <a:pt x="129" y="97"/>
                    <a:pt x="129" y="97"/>
                  </a:cubicBezTo>
                  <a:cubicBezTo>
                    <a:pt x="73" y="97"/>
                    <a:pt x="73" y="97"/>
                    <a:pt x="73" y="97"/>
                  </a:cubicBezTo>
                  <a:cubicBezTo>
                    <a:pt x="73" y="223"/>
                    <a:pt x="73" y="223"/>
                    <a:pt x="73" y="223"/>
                  </a:cubicBezTo>
                  <a:cubicBezTo>
                    <a:pt x="73" y="238"/>
                    <a:pt x="76" y="249"/>
                    <a:pt x="81" y="255"/>
                  </a:cubicBezTo>
                  <a:cubicBezTo>
                    <a:pt x="86" y="262"/>
                    <a:pt x="94" y="265"/>
                    <a:pt x="106" y="265"/>
                  </a:cubicBezTo>
                  <a:cubicBezTo>
                    <a:pt x="115" y="265"/>
                    <a:pt x="122" y="263"/>
                    <a:pt x="129" y="258"/>
                  </a:cubicBezTo>
                  <a:lnTo>
                    <a:pt x="129"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2" name="Freeform 14"/>
            <p:cNvSpPr>
              <a:spLocks/>
            </p:cNvSpPr>
            <p:nvPr userDrawn="1"/>
          </p:nvSpPr>
          <p:spPr bwMode="auto">
            <a:xfrm>
              <a:off x="1343" y="434"/>
              <a:ext cx="949" cy="743"/>
            </a:xfrm>
            <a:custGeom>
              <a:avLst/>
              <a:gdLst>
                <a:gd name="T0" fmla="*/ 401 w 401"/>
                <a:gd name="T1" fmla="*/ 0 h 314"/>
                <a:gd name="T2" fmla="*/ 314 w 401"/>
                <a:gd name="T3" fmla="*/ 314 h 314"/>
                <a:gd name="T4" fmla="*/ 271 w 401"/>
                <a:gd name="T5" fmla="*/ 314 h 314"/>
                <a:gd name="T6" fmla="*/ 208 w 401"/>
                <a:gd name="T7" fmla="*/ 84 h 314"/>
                <a:gd name="T8" fmla="*/ 203 w 401"/>
                <a:gd name="T9" fmla="*/ 52 h 314"/>
                <a:gd name="T10" fmla="*/ 202 w 401"/>
                <a:gd name="T11" fmla="*/ 52 h 314"/>
                <a:gd name="T12" fmla="*/ 196 w 401"/>
                <a:gd name="T13" fmla="*/ 83 h 314"/>
                <a:gd name="T14" fmla="*/ 132 w 401"/>
                <a:gd name="T15" fmla="*/ 314 h 314"/>
                <a:gd name="T16" fmla="*/ 90 w 401"/>
                <a:gd name="T17" fmla="*/ 314 h 314"/>
                <a:gd name="T18" fmla="*/ 0 w 401"/>
                <a:gd name="T19" fmla="*/ 0 h 314"/>
                <a:gd name="T20" fmla="*/ 40 w 401"/>
                <a:gd name="T21" fmla="*/ 0 h 314"/>
                <a:gd name="T22" fmla="*/ 105 w 401"/>
                <a:gd name="T23" fmla="*/ 240 h 314"/>
                <a:gd name="T24" fmla="*/ 111 w 401"/>
                <a:gd name="T25" fmla="*/ 272 h 314"/>
                <a:gd name="T26" fmla="*/ 112 w 401"/>
                <a:gd name="T27" fmla="*/ 272 h 314"/>
                <a:gd name="T28" fmla="*/ 118 w 401"/>
                <a:gd name="T29" fmla="*/ 240 h 314"/>
                <a:gd name="T30" fmla="*/ 187 w 401"/>
                <a:gd name="T31" fmla="*/ 0 h 314"/>
                <a:gd name="T32" fmla="*/ 222 w 401"/>
                <a:gd name="T33" fmla="*/ 0 h 314"/>
                <a:gd name="T34" fmla="*/ 287 w 401"/>
                <a:gd name="T35" fmla="*/ 242 h 314"/>
                <a:gd name="T36" fmla="*/ 292 w 401"/>
                <a:gd name="T37" fmla="*/ 271 h 314"/>
                <a:gd name="T38" fmla="*/ 293 w 401"/>
                <a:gd name="T39" fmla="*/ 271 h 314"/>
                <a:gd name="T40" fmla="*/ 299 w 401"/>
                <a:gd name="T41" fmla="*/ 241 h 314"/>
                <a:gd name="T42" fmla="*/ 362 w 401"/>
                <a:gd name="T43" fmla="*/ 0 h 314"/>
                <a:gd name="T44" fmla="*/ 401 w 401"/>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314">
                  <a:moveTo>
                    <a:pt x="401" y="0"/>
                  </a:moveTo>
                  <a:cubicBezTo>
                    <a:pt x="314" y="314"/>
                    <a:pt x="314" y="314"/>
                    <a:pt x="314" y="314"/>
                  </a:cubicBezTo>
                  <a:cubicBezTo>
                    <a:pt x="271" y="314"/>
                    <a:pt x="271" y="314"/>
                    <a:pt x="271" y="314"/>
                  </a:cubicBezTo>
                  <a:cubicBezTo>
                    <a:pt x="208" y="84"/>
                    <a:pt x="208" y="84"/>
                    <a:pt x="208" y="84"/>
                  </a:cubicBezTo>
                  <a:cubicBezTo>
                    <a:pt x="205" y="75"/>
                    <a:pt x="204" y="65"/>
                    <a:pt x="203" y="52"/>
                  </a:cubicBezTo>
                  <a:cubicBezTo>
                    <a:pt x="202" y="52"/>
                    <a:pt x="202" y="52"/>
                    <a:pt x="202" y="52"/>
                  </a:cubicBezTo>
                  <a:cubicBezTo>
                    <a:pt x="201" y="63"/>
                    <a:pt x="199" y="73"/>
                    <a:pt x="196" y="83"/>
                  </a:cubicBezTo>
                  <a:cubicBezTo>
                    <a:pt x="132" y="314"/>
                    <a:pt x="132" y="314"/>
                    <a:pt x="132" y="314"/>
                  </a:cubicBezTo>
                  <a:cubicBezTo>
                    <a:pt x="90" y="314"/>
                    <a:pt x="90" y="314"/>
                    <a:pt x="90" y="314"/>
                  </a:cubicBezTo>
                  <a:cubicBezTo>
                    <a:pt x="0" y="0"/>
                    <a:pt x="0" y="0"/>
                    <a:pt x="0" y="0"/>
                  </a:cubicBezTo>
                  <a:cubicBezTo>
                    <a:pt x="40" y="0"/>
                    <a:pt x="40" y="0"/>
                    <a:pt x="40" y="0"/>
                  </a:cubicBezTo>
                  <a:cubicBezTo>
                    <a:pt x="105" y="240"/>
                    <a:pt x="105" y="240"/>
                    <a:pt x="105" y="240"/>
                  </a:cubicBezTo>
                  <a:cubicBezTo>
                    <a:pt x="108" y="251"/>
                    <a:pt x="110" y="262"/>
                    <a:pt x="111" y="272"/>
                  </a:cubicBezTo>
                  <a:cubicBezTo>
                    <a:pt x="112" y="272"/>
                    <a:pt x="112" y="272"/>
                    <a:pt x="112" y="272"/>
                  </a:cubicBezTo>
                  <a:cubicBezTo>
                    <a:pt x="112" y="263"/>
                    <a:pt x="115" y="253"/>
                    <a:pt x="118" y="240"/>
                  </a:cubicBezTo>
                  <a:cubicBezTo>
                    <a:pt x="187" y="0"/>
                    <a:pt x="187" y="0"/>
                    <a:pt x="187" y="0"/>
                  </a:cubicBezTo>
                  <a:cubicBezTo>
                    <a:pt x="222" y="0"/>
                    <a:pt x="222" y="0"/>
                    <a:pt x="222" y="0"/>
                  </a:cubicBezTo>
                  <a:cubicBezTo>
                    <a:pt x="287" y="242"/>
                    <a:pt x="287" y="242"/>
                    <a:pt x="287" y="242"/>
                  </a:cubicBezTo>
                  <a:cubicBezTo>
                    <a:pt x="289" y="251"/>
                    <a:pt x="291" y="261"/>
                    <a:pt x="292" y="271"/>
                  </a:cubicBezTo>
                  <a:cubicBezTo>
                    <a:pt x="293" y="271"/>
                    <a:pt x="293" y="271"/>
                    <a:pt x="293" y="271"/>
                  </a:cubicBezTo>
                  <a:cubicBezTo>
                    <a:pt x="294" y="264"/>
                    <a:pt x="296" y="254"/>
                    <a:pt x="299" y="241"/>
                  </a:cubicBezTo>
                  <a:cubicBezTo>
                    <a:pt x="362" y="0"/>
                    <a:pt x="362" y="0"/>
                    <a:pt x="362" y="0"/>
                  </a:cubicBezTo>
                  <a:lnTo>
                    <a:pt x="4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3" name="Freeform 15"/>
            <p:cNvSpPr>
              <a:spLocks noEditPoints="1"/>
            </p:cNvSpPr>
            <p:nvPr userDrawn="1"/>
          </p:nvSpPr>
          <p:spPr bwMode="auto">
            <a:xfrm>
              <a:off x="2325" y="633"/>
              <a:ext cx="513" cy="556"/>
            </a:xfrm>
            <a:custGeom>
              <a:avLst/>
              <a:gdLst>
                <a:gd name="T0" fmla="*/ 217 w 217"/>
                <a:gd name="T1" fmla="*/ 117 h 235"/>
                <a:gd name="T2" fmla="*/ 187 w 217"/>
                <a:gd name="T3" fmla="*/ 203 h 235"/>
                <a:gd name="T4" fmla="*/ 107 w 217"/>
                <a:gd name="T5" fmla="*/ 235 h 235"/>
                <a:gd name="T6" fmla="*/ 29 w 217"/>
                <a:gd name="T7" fmla="*/ 203 h 235"/>
                <a:gd name="T8" fmla="*/ 0 w 217"/>
                <a:gd name="T9" fmla="*/ 120 h 235"/>
                <a:gd name="T10" fmla="*/ 30 w 217"/>
                <a:gd name="T11" fmla="*/ 32 h 235"/>
                <a:gd name="T12" fmla="*/ 112 w 217"/>
                <a:gd name="T13" fmla="*/ 0 h 235"/>
                <a:gd name="T14" fmla="*/ 189 w 217"/>
                <a:gd name="T15" fmla="*/ 31 h 235"/>
                <a:gd name="T16" fmla="*/ 217 w 217"/>
                <a:gd name="T17" fmla="*/ 117 h 235"/>
                <a:gd name="T18" fmla="*/ 181 w 217"/>
                <a:gd name="T19" fmla="*/ 118 h 235"/>
                <a:gd name="T20" fmla="*/ 162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7" y="203"/>
                  </a:cubicBezTo>
                  <a:cubicBezTo>
                    <a:pt x="167" y="224"/>
                    <a:pt x="141" y="235"/>
                    <a:pt x="107" y="235"/>
                  </a:cubicBezTo>
                  <a:cubicBezTo>
                    <a:pt x="75" y="235"/>
                    <a:pt x="48" y="225"/>
                    <a:pt x="29" y="203"/>
                  </a:cubicBezTo>
                  <a:cubicBezTo>
                    <a:pt x="10" y="182"/>
                    <a:pt x="0" y="155"/>
                    <a:pt x="0" y="120"/>
                  </a:cubicBezTo>
                  <a:cubicBezTo>
                    <a:pt x="0" y="83"/>
                    <a:pt x="10" y="54"/>
                    <a:pt x="30" y="32"/>
                  </a:cubicBezTo>
                  <a:cubicBezTo>
                    <a:pt x="50" y="11"/>
                    <a:pt x="77" y="0"/>
                    <a:pt x="112" y="0"/>
                  </a:cubicBezTo>
                  <a:cubicBezTo>
                    <a:pt x="145" y="0"/>
                    <a:pt x="171" y="10"/>
                    <a:pt x="189" y="31"/>
                  </a:cubicBezTo>
                  <a:cubicBezTo>
                    <a:pt x="208" y="52"/>
                    <a:pt x="217" y="80"/>
                    <a:pt x="217" y="117"/>
                  </a:cubicBezTo>
                  <a:close/>
                  <a:moveTo>
                    <a:pt x="181" y="118"/>
                  </a:moveTo>
                  <a:cubicBezTo>
                    <a:pt x="181" y="90"/>
                    <a:pt x="175" y="68"/>
                    <a:pt x="162" y="53"/>
                  </a:cubicBezTo>
                  <a:cubicBezTo>
                    <a:pt x="150" y="38"/>
                    <a:pt x="133" y="31"/>
                    <a:pt x="110" y="31"/>
                  </a:cubicBezTo>
                  <a:cubicBezTo>
                    <a:pt x="87" y="31"/>
                    <a:pt x="69" y="38"/>
                    <a:pt x="56" y="54"/>
                  </a:cubicBezTo>
                  <a:cubicBezTo>
                    <a:pt x="43" y="69"/>
                    <a:pt x="36" y="91"/>
                    <a:pt x="36" y="119"/>
                  </a:cubicBezTo>
                  <a:cubicBezTo>
                    <a:pt x="36" y="146"/>
                    <a:pt x="43" y="167"/>
                    <a:pt x="56" y="182"/>
                  </a:cubicBezTo>
                  <a:cubicBezTo>
                    <a:pt x="69" y="197"/>
                    <a:pt x="87" y="204"/>
                    <a:pt x="110" y="204"/>
                  </a:cubicBezTo>
                  <a:cubicBezTo>
                    <a:pt x="133" y="204"/>
                    <a:pt x="150"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4" name="Freeform 16"/>
            <p:cNvSpPr>
              <a:spLocks/>
            </p:cNvSpPr>
            <p:nvPr userDrawn="1"/>
          </p:nvSpPr>
          <p:spPr bwMode="auto">
            <a:xfrm>
              <a:off x="2968" y="635"/>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100"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5" name="Rectangle 17"/>
            <p:cNvSpPr>
              <a:spLocks noChangeArrowheads="1"/>
            </p:cNvSpPr>
            <p:nvPr userDrawn="1"/>
          </p:nvSpPr>
          <p:spPr bwMode="auto">
            <a:xfrm>
              <a:off x="3330" y="392"/>
              <a:ext cx="86" cy="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6" name="Freeform 18"/>
            <p:cNvSpPr>
              <a:spLocks noEditPoints="1"/>
            </p:cNvSpPr>
            <p:nvPr userDrawn="1"/>
          </p:nvSpPr>
          <p:spPr bwMode="auto">
            <a:xfrm>
              <a:off x="3543" y="392"/>
              <a:ext cx="483" cy="797"/>
            </a:xfrm>
            <a:custGeom>
              <a:avLst/>
              <a:gdLst>
                <a:gd name="T0" fmla="*/ 204 w 204"/>
                <a:gd name="T1" fmla="*/ 332 h 337"/>
                <a:gd name="T2" fmla="*/ 168 w 204"/>
                <a:gd name="T3" fmla="*/ 332 h 337"/>
                <a:gd name="T4" fmla="*/ 168 w 204"/>
                <a:gd name="T5" fmla="*/ 294 h 337"/>
                <a:gd name="T6" fmla="*/ 168 w 204"/>
                <a:gd name="T7" fmla="*/ 294 h 337"/>
                <a:gd name="T8" fmla="*/ 92 w 204"/>
                <a:gd name="T9" fmla="*/ 337 h 337"/>
                <a:gd name="T10" fmla="*/ 25 w 204"/>
                <a:gd name="T11" fmla="*/ 307 h 337"/>
                <a:gd name="T12" fmla="*/ 0 w 204"/>
                <a:gd name="T13" fmla="*/ 225 h 337"/>
                <a:gd name="T14" fmla="*/ 28 w 204"/>
                <a:gd name="T15" fmla="*/ 136 h 337"/>
                <a:gd name="T16" fmla="*/ 101 w 204"/>
                <a:gd name="T17" fmla="*/ 102 h 337"/>
                <a:gd name="T18" fmla="*/ 168 w 204"/>
                <a:gd name="T19" fmla="*/ 138 h 337"/>
                <a:gd name="T20" fmla="*/ 168 w 204"/>
                <a:gd name="T21" fmla="*/ 138 h 337"/>
                <a:gd name="T22" fmla="*/ 168 w 204"/>
                <a:gd name="T23" fmla="*/ 0 h 337"/>
                <a:gd name="T24" fmla="*/ 204 w 204"/>
                <a:gd name="T25" fmla="*/ 0 h 337"/>
                <a:gd name="T26" fmla="*/ 204 w 204"/>
                <a:gd name="T27" fmla="*/ 332 h 337"/>
                <a:gd name="T28" fmla="*/ 168 w 204"/>
                <a:gd name="T29" fmla="*/ 230 h 337"/>
                <a:gd name="T30" fmla="*/ 168 w 204"/>
                <a:gd name="T31" fmla="*/ 197 h 337"/>
                <a:gd name="T32" fmla="*/ 150 w 204"/>
                <a:gd name="T33" fmla="*/ 151 h 337"/>
                <a:gd name="T34" fmla="*/ 106 w 204"/>
                <a:gd name="T35" fmla="*/ 133 h 337"/>
                <a:gd name="T36" fmla="*/ 55 w 204"/>
                <a:gd name="T37" fmla="*/ 157 h 337"/>
                <a:gd name="T38" fmla="*/ 37 w 204"/>
                <a:gd name="T39" fmla="*/ 223 h 337"/>
                <a:gd name="T40" fmla="*/ 54 w 204"/>
                <a:gd name="T41" fmla="*/ 284 h 337"/>
                <a:gd name="T42" fmla="*/ 102 w 204"/>
                <a:gd name="T43" fmla="*/ 306 h 337"/>
                <a:gd name="T44" fmla="*/ 150 w 204"/>
                <a:gd name="T45" fmla="*/ 285 h 337"/>
                <a:gd name="T46" fmla="*/ 168 w 204"/>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337">
                  <a:moveTo>
                    <a:pt x="204" y="332"/>
                  </a:moveTo>
                  <a:cubicBezTo>
                    <a:pt x="168" y="332"/>
                    <a:pt x="168" y="332"/>
                    <a:pt x="168" y="332"/>
                  </a:cubicBezTo>
                  <a:cubicBezTo>
                    <a:pt x="168" y="294"/>
                    <a:pt x="168" y="294"/>
                    <a:pt x="168" y="294"/>
                  </a:cubicBezTo>
                  <a:cubicBezTo>
                    <a:pt x="168" y="294"/>
                    <a:pt x="168" y="294"/>
                    <a:pt x="168" y="294"/>
                  </a:cubicBezTo>
                  <a:cubicBezTo>
                    <a:pt x="151" y="323"/>
                    <a:pt x="126" y="337"/>
                    <a:pt x="92" y="337"/>
                  </a:cubicBezTo>
                  <a:cubicBezTo>
                    <a:pt x="64" y="337"/>
                    <a:pt x="42" y="327"/>
                    <a:pt x="25" y="307"/>
                  </a:cubicBezTo>
                  <a:cubicBezTo>
                    <a:pt x="9" y="286"/>
                    <a:pt x="0" y="259"/>
                    <a:pt x="0" y="225"/>
                  </a:cubicBezTo>
                  <a:cubicBezTo>
                    <a:pt x="0" y="188"/>
                    <a:pt x="10" y="158"/>
                    <a:pt x="28" y="136"/>
                  </a:cubicBezTo>
                  <a:cubicBezTo>
                    <a:pt x="46" y="113"/>
                    <a:pt x="71" y="102"/>
                    <a:pt x="101" y="102"/>
                  </a:cubicBezTo>
                  <a:cubicBezTo>
                    <a:pt x="132" y="102"/>
                    <a:pt x="154" y="114"/>
                    <a:pt x="168" y="138"/>
                  </a:cubicBezTo>
                  <a:cubicBezTo>
                    <a:pt x="168" y="138"/>
                    <a:pt x="168" y="138"/>
                    <a:pt x="168" y="138"/>
                  </a:cubicBezTo>
                  <a:cubicBezTo>
                    <a:pt x="168" y="0"/>
                    <a:pt x="168" y="0"/>
                    <a:pt x="168" y="0"/>
                  </a:cubicBezTo>
                  <a:cubicBezTo>
                    <a:pt x="204" y="0"/>
                    <a:pt x="204" y="0"/>
                    <a:pt x="204" y="0"/>
                  </a:cubicBezTo>
                  <a:lnTo>
                    <a:pt x="204" y="332"/>
                  </a:lnTo>
                  <a:close/>
                  <a:moveTo>
                    <a:pt x="168" y="230"/>
                  </a:moveTo>
                  <a:cubicBezTo>
                    <a:pt x="168" y="197"/>
                    <a:pt x="168" y="197"/>
                    <a:pt x="168" y="197"/>
                  </a:cubicBezTo>
                  <a:cubicBezTo>
                    <a:pt x="168" y="179"/>
                    <a:pt x="162" y="163"/>
                    <a:pt x="150" y="151"/>
                  </a:cubicBezTo>
                  <a:cubicBezTo>
                    <a:pt x="138" y="139"/>
                    <a:pt x="123" y="133"/>
                    <a:pt x="106" y="133"/>
                  </a:cubicBezTo>
                  <a:cubicBezTo>
                    <a:pt x="85" y="133"/>
                    <a:pt x="68" y="141"/>
                    <a:pt x="55" y="157"/>
                  </a:cubicBezTo>
                  <a:cubicBezTo>
                    <a:pt x="43" y="173"/>
                    <a:pt x="37" y="195"/>
                    <a:pt x="37" y="223"/>
                  </a:cubicBezTo>
                  <a:cubicBezTo>
                    <a:pt x="37" y="249"/>
                    <a:pt x="43" y="269"/>
                    <a:pt x="54" y="284"/>
                  </a:cubicBezTo>
                  <a:cubicBezTo>
                    <a:pt x="66" y="299"/>
                    <a:pt x="82" y="306"/>
                    <a:pt x="102" y="306"/>
                  </a:cubicBezTo>
                  <a:cubicBezTo>
                    <a:pt x="121" y="306"/>
                    <a:pt x="137" y="299"/>
                    <a:pt x="150" y="285"/>
                  </a:cubicBezTo>
                  <a:cubicBezTo>
                    <a:pt x="162"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7" name="Freeform 19"/>
            <p:cNvSpPr>
              <a:spLocks/>
            </p:cNvSpPr>
            <p:nvPr userDrawn="1"/>
          </p:nvSpPr>
          <p:spPr bwMode="auto">
            <a:xfrm>
              <a:off x="4123" y="645"/>
              <a:ext cx="728" cy="532"/>
            </a:xfrm>
            <a:custGeom>
              <a:avLst/>
              <a:gdLst>
                <a:gd name="T0" fmla="*/ 308 w 308"/>
                <a:gd name="T1" fmla="*/ 0 h 225"/>
                <a:gd name="T2" fmla="*/ 242 w 308"/>
                <a:gd name="T3" fmla="*/ 225 h 225"/>
                <a:gd name="T4" fmla="*/ 206 w 308"/>
                <a:gd name="T5" fmla="*/ 225 h 225"/>
                <a:gd name="T6" fmla="*/ 160 w 308"/>
                <a:gd name="T7" fmla="*/ 64 h 225"/>
                <a:gd name="T8" fmla="*/ 157 w 308"/>
                <a:gd name="T9" fmla="*/ 43 h 225"/>
                <a:gd name="T10" fmla="*/ 156 w 308"/>
                <a:gd name="T11" fmla="*/ 43 h 225"/>
                <a:gd name="T12" fmla="*/ 151 w 308"/>
                <a:gd name="T13" fmla="*/ 64 h 225"/>
                <a:gd name="T14" fmla="*/ 102 w 308"/>
                <a:gd name="T15" fmla="*/ 225 h 225"/>
                <a:gd name="T16" fmla="*/ 67 w 308"/>
                <a:gd name="T17" fmla="*/ 225 h 225"/>
                <a:gd name="T18" fmla="*/ 0 w 308"/>
                <a:gd name="T19" fmla="*/ 0 h 225"/>
                <a:gd name="T20" fmla="*/ 37 w 308"/>
                <a:gd name="T21" fmla="*/ 0 h 225"/>
                <a:gd name="T22" fmla="*/ 83 w 308"/>
                <a:gd name="T23" fmla="*/ 169 h 225"/>
                <a:gd name="T24" fmla="*/ 86 w 308"/>
                <a:gd name="T25" fmla="*/ 189 h 225"/>
                <a:gd name="T26" fmla="*/ 87 w 308"/>
                <a:gd name="T27" fmla="*/ 189 h 225"/>
                <a:gd name="T28" fmla="*/ 91 w 308"/>
                <a:gd name="T29" fmla="*/ 169 h 225"/>
                <a:gd name="T30" fmla="*/ 142 w 308"/>
                <a:gd name="T31" fmla="*/ 0 h 225"/>
                <a:gd name="T32" fmla="*/ 174 w 308"/>
                <a:gd name="T33" fmla="*/ 0 h 225"/>
                <a:gd name="T34" fmla="*/ 220 w 308"/>
                <a:gd name="T35" fmla="*/ 169 h 225"/>
                <a:gd name="T36" fmla="*/ 223 w 308"/>
                <a:gd name="T37" fmla="*/ 190 h 225"/>
                <a:gd name="T38" fmla="*/ 225 w 308"/>
                <a:gd name="T39" fmla="*/ 190 h 225"/>
                <a:gd name="T40" fmla="*/ 228 w 308"/>
                <a:gd name="T41" fmla="*/ 169 h 225"/>
                <a:gd name="T42" fmla="*/ 273 w 308"/>
                <a:gd name="T43" fmla="*/ 0 h 225"/>
                <a:gd name="T44" fmla="*/ 308 w 308"/>
                <a:gd name="T4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225">
                  <a:moveTo>
                    <a:pt x="308" y="0"/>
                  </a:moveTo>
                  <a:cubicBezTo>
                    <a:pt x="242" y="225"/>
                    <a:pt x="242" y="225"/>
                    <a:pt x="242" y="225"/>
                  </a:cubicBezTo>
                  <a:cubicBezTo>
                    <a:pt x="206" y="225"/>
                    <a:pt x="206" y="225"/>
                    <a:pt x="206" y="225"/>
                  </a:cubicBezTo>
                  <a:cubicBezTo>
                    <a:pt x="160" y="64"/>
                    <a:pt x="160" y="64"/>
                    <a:pt x="160" y="64"/>
                  </a:cubicBezTo>
                  <a:cubicBezTo>
                    <a:pt x="158" y="59"/>
                    <a:pt x="157" y="52"/>
                    <a:pt x="157" y="43"/>
                  </a:cubicBezTo>
                  <a:cubicBezTo>
                    <a:pt x="156" y="43"/>
                    <a:pt x="156" y="43"/>
                    <a:pt x="156" y="43"/>
                  </a:cubicBezTo>
                  <a:cubicBezTo>
                    <a:pt x="155" y="49"/>
                    <a:pt x="154" y="55"/>
                    <a:pt x="151" y="64"/>
                  </a:cubicBezTo>
                  <a:cubicBezTo>
                    <a:pt x="102" y="225"/>
                    <a:pt x="102" y="225"/>
                    <a:pt x="102" y="225"/>
                  </a:cubicBezTo>
                  <a:cubicBezTo>
                    <a:pt x="67" y="225"/>
                    <a:pt x="67" y="225"/>
                    <a:pt x="67" y="225"/>
                  </a:cubicBezTo>
                  <a:cubicBezTo>
                    <a:pt x="0" y="0"/>
                    <a:pt x="0" y="0"/>
                    <a:pt x="0" y="0"/>
                  </a:cubicBezTo>
                  <a:cubicBezTo>
                    <a:pt x="37" y="0"/>
                    <a:pt x="37" y="0"/>
                    <a:pt x="37" y="0"/>
                  </a:cubicBezTo>
                  <a:cubicBezTo>
                    <a:pt x="83" y="169"/>
                    <a:pt x="83" y="169"/>
                    <a:pt x="83" y="169"/>
                  </a:cubicBezTo>
                  <a:cubicBezTo>
                    <a:pt x="84" y="175"/>
                    <a:pt x="85" y="182"/>
                    <a:pt x="86" y="189"/>
                  </a:cubicBezTo>
                  <a:cubicBezTo>
                    <a:pt x="87" y="189"/>
                    <a:pt x="87" y="189"/>
                    <a:pt x="87" y="189"/>
                  </a:cubicBezTo>
                  <a:cubicBezTo>
                    <a:pt x="88" y="184"/>
                    <a:pt x="89" y="177"/>
                    <a:pt x="91" y="169"/>
                  </a:cubicBezTo>
                  <a:cubicBezTo>
                    <a:pt x="142" y="0"/>
                    <a:pt x="142" y="0"/>
                    <a:pt x="142" y="0"/>
                  </a:cubicBezTo>
                  <a:cubicBezTo>
                    <a:pt x="174" y="0"/>
                    <a:pt x="174" y="0"/>
                    <a:pt x="174" y="0"/>
                  </a:cubicBezTo>
                  <a:cubicBezTo>
                    <a:pt x="220" y="169"/>
                    <a:pt x="220" y="169"/>
                    <a:pt x="220" y="169"/>
                  </a:cubicBezTo>
                  <a:cubicBezTo>
                    <a:pt x="222" y="175"/>
                    <a:pt x="223" y="182"/>
                    <a:pt x="223" y="190"/>
                  </a:cubicBezTo>
                  <a:cubicBezTo>
                    <a:pt x="225" y="190"/>
                    <a:pt x="225" y="190"/>
                    <a:pt x="225" y="190"/>
                  </a:cubicBezTo>
                  <a:cubicBezTo>
                    <a:pt x="225" y="183"/>
                    <a:pt x="226" y="176"/>
                    <a:pt x="228" y="169"/>
                  </a:cubicBezTo>
                  <a:cubicBezTo>
                    <a:pt x="273" y="0"/>
                    <a:pt x="273" y="0"/>
                    <a:pt x="273" y="0"/>
                  </a:cubicBezTo>
                  <a:lnTo>
                    <a:pt x="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8" name="Freeform 20"/>
            <p:cNvSpPr>
              <a:spLocks noEditPoints="1"/>
            </p:cNvSpPr>
            <p:nvPr userDrawn="1"/>
          </p:nvSpPr>
          <p:spPr bwMode="auto">
            <a:xfrm>
              <a:off x="4939" y="401"/>
              <a:ext cx="109" cy="776"/>
            </a:xfrm>
            <a:custGeom>
              <a:avLst/>
              <a:gdLst>
                <a:gd name="T0" fmla="*/ 46 w 46"/>
                <a:gd name="T1" fmla="*/ 23 h 328"/>
                <a:gd name="T2" fmla="*/ 39 w 46"/>
                <a:gd name="T3" fmla="*/ 40 h 328"/>
                <a:gd name="T4" fmla="*/ 23 w 46"/>
                <a:gd name="T5" fmla="*/ 46 h 328"/>
                <a:gd name="T6" fmla="*/ 6 w 46"/>
                <a:gd name="T7" fmla="*/ 40 h 328"/>
                <a:gd name="T8" fmla="*/ 0 w 46"/>
                <a:gd name="T9" fmla="*/ 23 h 328"/>
                <a:gd name="T10" fmla="*/ 6 w 46"/>
                <a:gd name="T11" fmla="*/ 7 h 328"/>
                <a:gd name="T12" fmla="*/ 23 w 46"/>
                <a:gd name="T13" fmla="*/ 0 h 328"/>
                <a:gd name="T14" fmla="*/ 39 w 46"/>
                <a:gd name="T15" fmla="*/ 7 h 328"/>
                <a:gd name="T16" fmla="*/ 46 w 46"/>
                <a:gd name="T17" fmla="*/ 23 h 328"/>
                <a:gd name="T18" fmla="*/ 40 w 46"/>
                <a:gd name="T19" fmla="*/ 328 h 328"/>
                <a:gd name="T20" fmla="*/ 4 w 46"/>
                <a:gd name="T21" fmla="*/ 328 h 328"/>
                <a:gd name="T22" fmla="*/ 4 w 46"/>
                <a:gd name="T23" fmla="*/ 103 h 328"/>
                <a:gd name="T24" fmla="*/ 40 w 46"/>
                <a:gd name="T25" fmla="*/ 103 h 328"/>
                <a:gd name="T26" fmla="*/ 40 w 46"/>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328">
                  <a:moveTo>
                    <a:pt x="46" y="23"/>
                  </a:moveTo>
                  <a:cubicBezTo>
                    <a:pt x="46" y="30"/>
                    <a:pt x="44" y="35"/>
                    <a:pt x="39" y="40"/>
                  </a:cubicBezTo>
                  <a:cubicBezTo>
                    <a:pt x="34" y="44"/>
                    <a:pt x="29" y="46"/>
                    <a:pt x="23" y="46"/>
                  </a:cubicBezTo>
                  <a:cubicBezTo>
                    <a:pt x="16" y="46"/>
                    <a:pt x="11" y="44"/>
                    <a:pt x="6" y="40"/>
                  </a:cubicBezTo>
                  <a:cubicBezTo>
                    <a:pt x="2" y="36"/>
                    <a:pt x="0" y="30"/>
                    <a:pt x="0" y="23"/>
                  </a:cubicBezTo>
                  <a:cubicBezTo>
                    <a:pt x="0" y="17"/>
                    <a:pt x="2" y="11"/>
                    <a:pt x="6" y="7"/>
                  </a:cubicBezTo>
                  <a:cubicBezTo>
                    <a:pt x="10" y="2"/>
                    <a:pt x="16" y="0"/>
                    <a:pt x="23" y="0"/>
                  </a:cubicBezTo>
                  <a:cubicBezTo>
                    <a:pt x="29" y="0"/>
                    <a:pt x="35" y="2"/>
                    <a:pt x="39" y="7"/>
                  </a:cubicBezTo>
                  <a:cubicBezTo>
                    <a:pt x="44" y="11"/>
                    <a:pt x="46" y="17"/>
                    <a:pt x="46" y="23"/>
                  </a:cubicBezTo>
                  <a:close/>
                  <a:moveTo>
                    <a:pt x="40" y="328"/>
                  </a:moveTo>
                  <a:cubicBezTo>
                    <a:pt x="4" y="328"/>
                    <a:pt x="4" y="328"/>
                    <a:pt x="4" y="328"/>
                  </a:cubicBezTo>
                  <a:cubicBezTo>
                    <a:pt x="4" y="103"/>
                    <a:pt x="4" y="103"/>
                    <a:pt x="4" y="103"/>
                  </a:cubicBezTo>
                  <a:cubicBezTo>
                    <a:pt x="40" y="103"/>
                    <a:pt x="40" y="103"/>
                    <a:pt x="40" y="103"/>
                  </a:cubicBezTo>
                  <a:lnTo>
                    <a:pt x="40"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9" name="Freeform 21"/>
            <p:cNvSpPr>
              <a:spLocks noEditPoints="1"/>
            </p:cNvSpPr>
            <p:nvPr userDrawn="1"/>
          </p:nvSpPr>
          <p:spPr bwMode="auto">
            <a:xfrm>
              <a:off x="5164" y="392"/>
              <a:ext cx="480" cy="797"/>
            </a:xfrm>
            <a:custGeom>
              <a:avLst/>
              <a:gdLst>
                <a:gd name="T0" fmla="*/ 203 w 203"/>
                <a:gd name="T1" fmla="*/ 332 h 337"/>
                <a:gd name="T2" fmla="*/ 168 w 203"/>
                <a:gd name="T3" fmla="*/ 332 h 337"/>
                <a:gd name="T4" fmla="*/ 168 w 203"/>
                <a:gd name="T5" fmla="*/ 294 h 337"/>
                <a:gd name="T6" fmla="*/ 167 w 203"/>
                <a:gd name="T7" fmla="*/ 294 h 337"/>
                <a:gd name="T8" fmla="*/ 91 w 203"/>
                <a:gd name="T9" fmla="*/ 337 h 337"/>
                <a:gd name="T10" fmla="*/ 24 w 203"/>
                <a:gd name="T11" fmla="*/ 307 h 337"/>
                <a:gd name="T12" fmla="*/ 0 w 203"/>
                <a:gd name="T13" fmla="*/ 225 h 337"/>
                <a:gd name="T14" fmla="*/ 27 w 203"/>
                <a:gd name="T15" fmla="*/ 136 h 337"/>
                <a:gd name="T16" fmla="*/ 101 w 203"/>
                <a:gd name="T17" fmla="*/ 102 h 337"/>
                <a:gd name="T18" fmla="*/ 167 w 203"/>
                <a:gd name="T19" fmla="*/ 138 h 337"/>
                <a:gd name="T20" fmla="*/ 168 w 203"/>
                <a:gd name="T21" fmla="*/ 138 h 337"/>
                <a:gd name="T22" fmla="*/ 168 w 203"/>
                <a:gd name="T23" fmla="*/ 0 h 337"/>
                <a:gd name="T24" fmla="*/ 203 w 203"/>
                <a:gd name="T25" fmla="*/ 0 h 337"/>
                <a:gd name="T26" fmla="*/ 203 w 203"/>
                <a:gd name="T27" fmla="*/ 332 h 337"/>
                <a:gd name="T28" fmla="*/ 168 w 203"/>
                <a:gd name="T29" fmla="*/ 230 h 337"/>
                <a:gd name="T30" fmla="*/ 168 w 203"/>
                <a:gd name="T31" fmla="*/ 197 h 337"/>
                <a:gd name="T32" fmla="*/ 149 w 203"/>
                <a:gd name="T33" fmla="*/ 151 h 337"/>
                <a:gd name="T34" fmla="*/ 105 w 203"/>
                <a:gd name="T35" fmla="*/ 133 h 337"/>
                <a:gd name="T36" fmla="*/ 54 w 203"/>
                <a:gd name="T37" fmla="*/ 157 h 337"/>
                <a:gd name="T38" fmla="*/ 36 w 203"/>
                <a:gd name="T39" fmla="*/ 223 h 337"/>
                <a:gd name="T40" fmla="*/ 53 w 203"/>
                <a:gd name="T41" fmla="*/ 284 h 337"/>
                <a:gd name="T42" fmla="*/ 101 w 203"/>
                <a:gd name="T43" fmla="*/ 306 h 337"/>
                <a:gd name="T44" fmla="*/ 149 w 203"/>
                <a:gd name="T45" fmla="*/ 285 h 337"/>
                <a:gd name="T46" fmla="*/ 168 w 203"/>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37">
                  <a:moveTo>
                    <a:pt x="203" y="332"/>
                  </a:moveTo>
                  <a:cubicBezTo>
                    <a:pt x="168" y="332"/>
                    <a:pt x="168" y="332"/>
                    <a:pt x="168" y="332"/>
                  </a:cubicBezTo>
                  <a:cubicBezTo>
                    <a:pt x="168" y="294"/>
                    <a:pt x="168" y="294"/>
                    <a:pt x="168" y="294"/>
                  </a:cubicBezTo>
                  <a:cubicBezTo>
                    <a:pt x="167" y="294"/>
                    <a:pt x="167" y="294"/>
                    <a:pt x="167" y="294"/>
                  </a:cubicBezTo>
                  <a:cubicBezTo>
                    <a:pt x="150" y="323"/>
                    <a:pt x="125" y="337"/>
                    <a:pt x="91" y="337"/>
                  </a:cubicBezTo>
                  <a:cubicBezTo>
                    <a:pt x="63" y="337"/>
                    <a:pt x="41" y="327"/>
                    <a:pt x="24" y="307"/>
                  </a:cubicBezTo>
                  <a:cubicBezTo>
                    <a:pt x="8" y="286"/>
                    <a:pt x="0" y="259"/>
                    <a:pt x="0" y="225"/>
                  </a:cubicBezTo>
                  <a:cubicBezTo>
                    <a:pt x="0" y="188"/>
                    <a:pt x="9" y="158"/>
                    <a:pt x="27" y="136"/>
                  </a:cubicBezTo>
                  <a:cubicBezTo>
                    <a:pt x="45" y="113"/>
                    <a:pt x="70" y="102"/>
                    <a:pt x="101" y="102"/>
                  </a:cubicBezTo>
                  <a:cubicBezTo>
                    <a:pt x="131" y="102"/>
                    <a:pt x="153" y="114"/>
                    <a:pt x="167" y="138"/>
                  </a:cubicBezTo>
                  <a:cubicBezTo>
                    <a:pt x="168" y="138"/>
                    <a:pt x="168" y="138"/>
                    <a:pt x="168" y="138"/>
                  </a:cubicBezTo>
                  <a:cubicBezTo>
                    <a:pt x="168" y="0"/>
                    <a:pt x="168" y="0"/>
                    <a:pt x="168" y="0"/>
                  </a:cubicBezTo>
                  <a:cubicBezTo>
                    <a:pt x="203" y="0"/>
                    <a:pt x="203" y="0"/>
                    <a:pt x="203" y="0"/>
                  </a:cubicBezTo>
                  <a:lnTo>
                    <a:pt x="203" y="332"/>
                  </a:lnTo>
                  <a:close/>
                  <a:moveTo>
                    <a:pt x="168" y="230"/>
                  </a:moveTo>
                  <a:cubicBezTo>
                    <a:pt x="168" y="197"/>
                    <a:pt x="168" y="197"/>
                    <a:pt x="168" y="197"/>
                  </a:cubicBezTo>
                  <a:cubicBezTo>
                    <a:pt x="168" y="179"/>
                    <a:pt x="162" y="163"/>
                    <a:pt x="149" y="151"/>
                  </a:cubicBezTo>
                  <a:cubicBezTo>
                    <a:pt x="137" y="139"/>
                    <a:pt x="122" y="133"/>
                    <a:pt x="105" y="133"/>
                  </a:cubicBezTo>
                  <a:cubicBezTo>
                    <a:pt x="84" y="133"/>
                    <a:pt x="67" y="141"/>
                    <a:pt x="54" y="157"/>
                  </a:cubicBezTo>
                  <a:cubicBezTo>
                    <a:pt x="42" y="173"/>
                    <a:pt x="36" y="195"/>
                    <a:pt x="36" y="223"/>
                  </a:cubicBezTo>
                  <a:cubicBezTo>
                    <a:pt x="36" y="249"/>
                    <a:pt x="42" y="269"/>
                    <a:pt x="53" y="284"/>
                  </a:cubicBezTo>
                  <a:cubicBezTo>
                    <a:pt x="65" y="299"/>
                    <a:pt x="81" y="306"/>
                    <a:pt x="101" y="306"/>
                  </a:cubicBezTo>
                  <a:cubicBezTo>
                    <a:pt x="120" y="306"/>
                    <a:pt x="136" y="299"/>
                    <a:pt x="149" y="285"/>
                  </a:cubicBezTo>
                  <a:cubicBezTo>
                    <a:pt x="161"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0" name="Freeform 22"/>
            <p:cNvSpPr>
              <a:spLocks noEditPoints="1"/>
            </p:cNvSpPr>
            <p:nvPr userDrawn="1"/>
          </p:nvSpPr>
          <p:spPr bwMode="auto">
            <a:xfrm>
              <a:off x="5774" y="633"/>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8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8"/>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1" name="Freeform 23"/>
            <p:cNvSpPr>
              <a:spLocks noEditPoints="1"/>
            </p:cNvSpPr>
            <p:nvPr userDrawn="1"/>
          </p:nvSpPr>
          <p:spPr bwMode="auto">
            <a:xfrm>
              <a:off x="1426" y="1557"/>
              <a:ext cx="447" cy="743"/>
            </a:xfrm>
            <a:custGeom>
              <a:avLst/>
              <a:gdLst>
                <a:gd name="T0" fmla="*/ 189 w 189"/>
                <a:gd name="T1" fmla="*/ 93 h 314"/>
                <a:gd name="T2" fmla="*/ 158 w 189"/>
                <a:gd name="T3" fmla="*/ 167 h 314"/>
                <a:gd name="T4" fmla="*/ 77 w 189"/>
                <a:gd name="T5" fmla="*/ 195 h 314"/>
                <a:gd name="T6" fmla="*/ 36 w 189"/>
                <a:gd name="T7" fmla="*/ 195 h 314"/>
                <a:gd name="T8" fmla="*/ 36 w 189"/>
                <a:gd name="T9" fmla="*/ 314 h 314"/>
                <a:gd name="T10" fmla="*/ 0 w 189"/>
                <a:gd name="T11" fmla="*/ 314 h 314"/>
                <a:gd name="T12" fmla="*/ 0 w 189"/>
                <a:gd name="T13" fmla="*/ 0 h 314"/>
                <a:gd name="T14" fmla="*/ 85 w 189"/>
                <a:gd name="T15" fmla="*/ 0 h 314"/>
                <a:gd name="T16" fmla="*/ 161 w 189"/>
                <a:gd name="T17" fmla="*/ 24 h 314"/>
                <a:gd name="T18" fmla="*/ 189 w 189"/>
                <a:gd name="T19" fmla="*/ 93 h 314"/>
                <a:gd name="T20" fmla="*/ 151 w 189"/>
                <a:gd name="T21" fmla="*/ 95 h 314"/>
                <a:gd name="T22" fmla="*/ 78 w 189"/>
                <a:gd name="T23" fmla="*/ 33 h 314"/>
                <a:gd name="T24" fmla="*/ 36 w 189"/>
                <a:gd name="T25" fmla="*/ 33 h 314"/>
                <a:gd name="T26" fmla="*/ 36 w 189"/>
                <a:gd name="T27" fmla="*/ 162 h 314"/>
                <a:gd name="T28" fmla="*/ 74 w 189"/>
                <a:gd name="T29" fmla="*/ 162 h 314"/>
                <a:gd name="T30" fmla="*/ 131 w 189"/>
                <a:gd name="T31" fmla="*/ 144 h 314"/>
                <a:gd name="T32" fmla="*/ 151 w 189"/>
                <a:gd name="T33" fmla="*/ 9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9" h="314">
                  <a:moveTo>
                    <a:pt x="189" y="93"/>
                  </a:moveTo>
                  <a:cubicBezTo>
                    <a:pt x="189" y="124"/>
                    <a:pt x="178" y="148"/>
                    <a:pt x="158" y="167"/>
                  </a:cubicBezTo>
                  <a:cubicBezTo>
                    <a:pt x="137" y="185"/>
                    <a:pt x="110" y="195"/>
                    <a:pt x="77" y="195"/>
                  </a:cubicBezTo>
                  <a:cubicBezTo>
                    <a:pt x="36" y="195"/>
                    <a:pt x="36" y="195"/>
                    <a:pt x="36" y="195"/>
                  </a:cubicBezTo>
                  <a:cubicBezTo>
                    <a:pt x="36" y="314"/>
                    <a:pt x="36" y="314"/>
                    <a:pt x="36" y="314"/>
                  </a:cubicBezTo>
                  <a:cubicBezTo>
                    <a:pt x="0" y="314"/>
                    <a:pt x="0" y="314"/>
                    <a:pt x="0" y="314"/>
                  </a:cubicBezTo>
                  <a:cubicBezTo>
                    <a:pt x="0" y="0"/>
                    <a:pt x="0" y="0"/>
                    <a:pt x="0" y="0"/>
                  </a:cubicBezTo>
                  <a:cubicBezTo>
                    <a:pt x="85" y="0"/>
                    <a:pt x="85" y="0"/>
                    <a:pt x="85" y="0"/>
                  </a:cubicBezTo>
                  <a:cubicBezTo>
                    <a:pt x="118" y="0"/>
                    <a:pt x="143" y="8"/>
                    <a:pt x="161" y="24"/>
                  </a:cubicBezTo>
                  <a:cubicBezTo>
                    <a:pt x="180" y="41"/>
                    <a:pt x="189" y="64"/>
                    <a:pt x="189" y="93"/>
                  </a:cubicBezTo>
                  <a:close/>
                  <a:moveTo>
                    <a:pt x="151" y="95"/>
                  </a:moveTo>
                  <a:cubicBezTo>
                    <a:pt x="151" y="54"/>
                    <a:pt x="127" y="33"/>
                    <a:pt x="78" y="33"/>
                  </a:cubicBezTo>
                  <a:cubicBezTo>
                    <a:pt x="36" y="33"/>
                    <a:pt x="36" y="33"/>
                    <a:pt x="36" y="33"/>
                  </a:cubicBezTo>
                  <a:cubicBezTo>
                    <a:pt x="36" y="162"/>
                    <a:pt x="36" y="162"/>
                    <a:pt x="36" y="162"/>
                  </a:cubicBezTo>
                  <a:cubicBezTo>
                    <a:pt x="74" y="162"/>
                    <a:pt x="74" y="162"/>
                    <a:pt x="74" y="162"/>
                  </a:cubicBezTo>
                  <a:cubicBezTo>
                    <a:pt x="99" y="162"/>
                    <a:pt x="118" y="156"/>
                    <a:pt x="131" y="144"/>
                  </a:cubicBezTo>
                  <a:cubicBezTo>
                    <a:pt x="144" y="133"/>
                    <a:pt x="151" y="117"/>
                    <a:pt x="151"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2" name="Freeform 24"/>
            <p:cNvSpPr>
              <a:spLocks noEditPoints="1"/>
            </p:cNvSpPr>
            <p:nvPr userDrawn="1"/>
          </p:nvSpPr>
          <p:spPr bwMode="auto">
            <a:xfrm>
              <a:off x="1923" y="1756"/>
              <a:ext cx="411" cy="556"/>
            </a:xfrm>
            <a:custGeom>
              <a:avLst/>
              <a:gdLst>
                <a:gd name="T0" fmla="*/ 174 w 174"/>
                <a:gd name="T1" fmla="*/ 230 h 235"/>
                <a:gd name="T2" fmla="*/ 139 w 174"/>
                <a:gd name="T3" fmla="*/ 230 h 235"/>
                <a:gd name="T4" fmla="*/ 139 w 174"/>
                <a:gd name="T5" fmla="*/ 195 h 235"/>
                <a:gd name="T6" fmla="*/ 138 w 174"/>
                <a:gd name="T7" fmla="*/ 195 h 235"/>
                <a:gd name="T8" fmla="*/ 70 w 174"/>
                <a:gd name="T9" fmla="*/ 235 h 235"/>
                <a:gd name="T10" fmla="*/ 19 w 174"/>
                <a:gd name="T11" fmla="*/ 218 h 235"/>
                <a:gd name="T12" fmla="*/ 0 w 174"/>
                <a:gd name="T13" fmla="*/ 170 h 235"/>
                <a:gd name="T14" fmla="*/ 73 w 174"/>
                <a:gd name="T15" fmla="*/ 97 h 235"/>
                <a:gd name="T16" fmla="*/ 139 w 174"/>
                <a:gd name="T17" fmla="*/ 87 h 235"/>
                <a:gd name="T18" fmla="*/ 93 w 174"/>
                <a:gd name="T19" fmla="*/ 31 h 235"/>
                <a:gd name="T20" fmla="*/ 21 w 174"/>
                <a:gd name="T21" fmla="*/ 58 h 235"/>
                <a:gd name="T22" fmla="*/ 21 w 174"/>
                <a:gd name="T23" fmla="*/ 21 h 235"/>
                <a:gd name="T24" fmla="*/ 55 w 174"/>
                <a:gd name="T25" fmla="*/ 7 h 235"/>
                <a:gd name="T26" fmla="*/ 96 w 174"/>
                <a:gd name="T27" fmla="*/ 0 h 235"/>
                <a:gd name="T28" fmla="*/ 174 w 174"/>
                <a:gd name="T29" fmla="*/ 84 h 235"/>
                <a:gd name="T30" fmla="*/ 174 w 174"/>
                <a:gd name="T31" fmla="*/ 230 h 235"/>
                <a:gd name="T32" fmla="*/ 139 w 174"/>
                <a:gd name="T33" fmla="*/ 116 h 235"/>
                <a:gd name="T34" fmla="*/ 85 w 174"/>
                <a:gd name="T35" fmla="*/ 124 h 235"/>
                <a:gd name="T36" fmla="*/ 47 w 174"/>
                <a:gd name="T37" fmla="*/ 137 h 235"/>
                <a:gd name="T38" fmla="*/ 36 w 174"/>
                <a:gd name="T39" fmla="*/ 167 h 235"/>
                <a:gd name="T40" fmla="*/ 48 w 174"/>
                <a:gd name="T41" fmla="*/ 194 h 235"/>
                <a:gd name="T42" fmla="*/ 78 w 174"/>
                <a:gd name="T43" fmla="*/ 204 h 235"/>
                <a:gd name="T44" fmla="*/ 122 w 174"/>
                <a:gd name="T45" fmla="*/ 186 h 235"/>
                <a:gd name="T46" fmla="*/ 139 w 174"/>
                <a:gd name="T47" fmla="*/ 139 h 235"/>
                <a:gd name="T48" fmla="*/ 139 w 174"/>
                <a:gd name="T49" fmla="*/ 11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235">
                  <a:moveTo>
                    <a:pt x="174" y="230"/>
                  </a:moveTo>
                  <a:cubicBezTo>
                    <a:pt x="139" y="230"/>
                    <a:pt x="139" y="230"/>
                    <a:pt x="139" y="230"/>
                  </a:cubicBezTo>
                  <a:cubicBezTo>
                    <a:pt x="139" y="195"/>
                    <a:pt x="139" y="195"/>
                    <a:pt x="139" y="195"/>
                  </a:cubicBezTo>
                  <a:cubicBezTo>
                    <a:pt x="138" y="195"/>
                    <a:pt x="138" y="195"/>
                    <a:pt x="138" y="195"/>
                  </a:cubicBezTo>
                  <a:cubicBezTo>
                    <a:pt x="123" y="222"/>
                    <a:pt x="100" y="235"/>
                    <a:pt x="70" y="235"/>
                  </a:cubicBezTo>
                  <a:cubicBezTo>
                    <a:pt x="49" y="235"/>
                    <a:pt x="32" y="229"/>
                    <a:pt x="19" y="218"/>
                  </a:cubicBezTo>
                  <a:cubicBezTo>
                    <a:pt x="6" y="206"/>
                    <a:pt x="0" y="190"/>
                    <a:pt x="0" y="170"/>
                  </a:cubicBezTo>
                  <a:cubicBezTo>
                    <a:pt x="0" y="128"/>
                    <a:pt x="24" y="104"/>
                    <a:pt x="73" y="97"/>
                  </a:cubicBezTo>
                  <a:cubicBezTo>
                    <a:pt x="139" y="87"/>
                    <a:pt x="139" y="87"/>
                    <a:pt x="139" y="87"/>
                  </a:cubicBezTo>
                  <a:cubicBezTo>
                    <a:pt x="139" y="50"/>
                    <a:pt x="124" y="31"/>
                    <a:pt x="93" y="31"/>
                  </a:cubicBezTo>
                  <a:cubicBezTo>
                    <a:pt x="67" y="31"/>
                    <a:pt x="43" y="40"/>
                    <a:pt x="21" y="58"/>
                  </a:cubicBezTo>
                  <a:cubicBezTo>
                    <a:pt x="21" y="21"/>
                    <a:pt x="21" y="21"/>
                    <a:pt x="21" y="21"/>
                  </a:cubicBezTo>
                  <a:cubicBezTo>
                    <a:pt x="28" y="16"/>
                    <a:pt x="39" y="11"/>
                    <a:pt x="55" y="7"/>
                  </a:cubicBezTo>
                  <a:cubicBezTo>
                    <a:pt x="70" y="2"/>
                    <a:pt x="84" y="0"/>
                    <a:pt x="96" y="0"/>
                  </a:cubicBezTo>
                  <a:cubicBezTo>
                    <a:pt x="148" y="0"/>
                    <a:pt x="174" y="28"/>
                    <a:pt x="174" y="84"/>
                  </a:cubicBezTo>
                  <a:lnTo>
                    <a:pt x="174" y="230"/>
                  </a:lnTo>
                  <a:close/>
                  <a:moveTo>
                    <a:pt x="139" y="116"/>
                  </a:moveTo>
                  <a:cubicBezTo>
                    <a:pt x="85" y="124"/>
                    <a:pt x="85" y="124"/>
                    <a:pt x="85" y="124"/>
                  </a:cubicBezTo>
                  <a:cubicBezTo>
                    <a:pt x="67" y="126"/>
                    <a:pt x="54" y="131"/>
                    <a:pt x="47" y="137"/>
                  </a:cubicBezTo>
                  <a:cubicBezTo>
                    <a:pt x="40" y="143"/>
                    <a:pt x="36" y="153"/>
                    <a:pt x="36" y="167"/>
                  </a:cubicBezTo>
                  <a:cubicBezTo>
                    <a:pt x="36" y="178"/>
                    <a:pt x="40" y="187"/>
                    <a:pt x="48" y="194"/>
                  </a:cubicBezTo>
                  <a:cubicBezTo>
                    <a:pt x="56" y="201"/>
                    <a:pt x="66" y="204"/>
                    <a:pt x="78" y="204"/>
                  </a:cubicBezTo>
                  <a:cubicBezTo>
                    <a:pt x="96" y="204"/>
                    <a:pt x="110" y="198"/>
                    <a:pt x="122" y="186"/>
                  </a:cubicBezTo>
                  <a:cubicBezTo>
                    <a:pt x="133" y="173"/>
                    <a:pt x="139" y="157"/>
                    <a:pt x="139" y="139"/>
                  </a:cubicBezTo>
                  <a:lnTo>
                    <a:pt x="139"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3" name="Freeform 25"/>
            <p:cNvSpPr>
              <a:spLocks/>
            </p:cNvSpPr>
            <p:nvPr userDrawn="1"/>
          </p:nvSpPr>
          <p:spPr bwMode="auto">
            <a:xfrm>
              <a:off x="2493"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4" name="Freeform 26"/>
            <p:cNvSpPr>
              <a:spLocks/>
            </p:cNvSpPr>
            <p:nvPr userDrawn="1"/>
          </p:nvSpPr>
          <p:spPr bwMode="auto">
            <a:xfrm>
              <a:off x="2824" y="1612"/>
              <a:ext cx="303" cy="700"/>
            </a:xfrm>
            <a:custGeom>
              <a:avLst/>
              <a:gdLst>
                <a:gd name="T0" fmla="*/ 128 w 128"/>
                <a:gd name="T1" fmla="*/ 288 h 296"/>
                <a:gd name="T2" fmla="*/ 95 w 128"/>
                <a:gd name="T3" fmla="*/ 296 h 296"/>
                <a:gd name="T4" fmla="*/ 37 w 128"/>
                <a:gd name="T5" fmla="*/ 230 h 296"/>
                <a:gd name="T6" fmla="*/ 37 w 128"/>
                <a:gd name="T7" fmla="*/ 97 h 296"/>
                <a:gd name="T8" fmla="*/ 0 w 128"/>
                <a:gd name="T9" fmla="*/ 97 h 296"/>
                <a:gd name="T10" fmla="*/ 0 w 128"/>
                <a:gd name="T11" fmla="*/ 66 h 296"/>
                <a:gd name="T12" fmla="*/ 37 w 128"/>
                <a:gd name="T13" fmla="*/ 66 h 296"/>
                <a:gd name="T14" fmla="*/ 37 w 128"/>
                <a:gd name="T15" fmla="*/ 12 h 296"/>
                <a:gd name="T16" fmla="*/ 73 w 128"/>
                <a:gd name="T17" fmla="*/ 0 h 296"/>
                <a:gd name="T18" fmla="*/ 73 w 128"/>
                <a:gd name="T19" fmla="*/ 66 h 296"/>
                <a:gd name="T20" fmla="*/ 128 w 128"/>
                <a:gd name="T21" fmla="*/ 66 h 296"/>
                <a:gd name="T22" fmla="*/ 128 w 128"/>
                <a:gd name="T23" fmla="*/ 97 h 296"/>
                <a:gd name="T24" fmla="*/ 73 w 128"/>
                <a:gd name="T25" fmla="*/ 97 h 296"/>
                <a:gd name="T26" fmla="*/ 73 w 128"/>
                <a:gd name="T27" fmla="*/ 223 h 296"/>
                <a:gd name="T28" fmla="*/ 80 w 128"/>
                <a:gd name="T29" fmla="*/ 256 h 296"/>
                <a:gd name="T30" fmla="*/ 106 w 128"/>
                <a:gd name="T31" fmla="*/ 265 h 296"/>
                <a:gd name="T32" fmla="*/ 128 w 128"/>
                <a:gd name="T33" fmla="*/ 258 h 296"/>
                <a:gd name="T34" fmla="*/ 128 w 128"/>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296">
                  <a:moveTo>
                    <a:pt x="128" y="288"/>
                  </a:moveTo>
                  <a:cubicBezTo>
                    <a:pt x="120" y="293"/>
                    <a:pt x="109" y="296"/>
                    <a:pt x="95" y="296"/>
                  </a:cubicBezTo>
                  <a:cubicBezTo>
                    <a:pt x="57" y="296"/>
                    <a:pt x="37" y="274"/>
                    <a:pt x="37" y="230"/>
                  </a:cubicBezTo>
                  <a:cubicBezTo>
                    <a:pt x="37" y="97"/>
                    <a:pt x="37" y="97"/>
                    <a:pt x="37" y="97"/>
                  </a:cubicBezTo>
                  <a:cubicBezTo>
                    <a:pt x="0" y="97"/>
                    <a:pt x="0" y="97"/>
                    <a:pt x="0" y="97"/>
                  </a:cubicBezTo>
                  <a:cubicBezTo>
                    <a:pt x="0" y="66"/>
                    <a:pt x="0" y="66"/>
                    <a:pt x="0" y="66"/>
                  </a:cubicBezTo>
                  <a:cubicBezTo>
                    <a:pt x="37" y="66"/>
                    <a:pt x="37" y="66"/>
                    <a:pt x="37" y="66"/>
                  </a:cubicBezTo>
                  <a:cubicBezTo>
                    <a:pt x="37" y="12"/>
                    <a:pt x="37" y="12"/>
                    <a:pt x="37" y="12"/>
                  </a:cubicBezTo>
                  <a:cubicBezTo>
                    <a:pt x="73" y="0"/>
                    <a:pt x="73" y="0"/>
                    <a:pt x="73" y="0"/>
                  </a:cubicBezTo>
                  <a:cubicBezTo>
                    <a:pt x="73" y="66"/>
                    <a:pt x="73" y="66"/>
                    <a:pt x="73" y="66"/>
                  </a:cubicBezTo>
                  <a:cubicBezTo>
                    <a:pt x="128" y="66"/>
                    <a:pt x="128" y="66"/>
                    <a:pt x="128" y="66"/>
                  </a:cubicBezTo>
                  <a:cubicBezTo>
                    <a:pt x="128" y="97"/>
                    <a:pt x="128" y="97"/>
                    <a:pt x="128" y="97"/>
                  </a:cubicBezTo>
                  <a:cubicBezTo>
                    <a:pt x="73" y="97"/>
                    <a:pt x="73" y="97"/>
                    <a:pt x="73" y="97"/>
                  </a:cubicBezTo>
                  <a:cubicBezTo>
                    <a:pt x="73" y="223"/>
                    <a:pt x="73" y="223"/>
                    <a:pt x="73" y="223"/>
                  </a:cubicBezTo>
                  <a:cubicBezTo>
                    <a:pt x="73" y="238"/>
                    <a:pt x="75" y="249"/>
                    <a:pt x="80" y="256"/>
                  </a:cubicBezTo>
                  <a:cubicBezTo>
                    <a:pt x="85" y="262"/>
                    <a:pt x="94" y="265"/>
                    <a:pt x="106" y="265"/>
                  </a:cubicBezTo>
                  <a:cubicBezTo>
                    <a:pt x="114" y="265"/>
                    <a:pt x="122" y="263"/>
                    <a:pt x="128" y="258"/>
                  </a:cubicBezTo>
                  <a:lnTo>
                    <a:pt x="128"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5" name="Freeform 27"/>
            <p:cNvSpPr>
              <a:spLocks/>
            </p:cNvSpPr>
            <p:nvPr userDrawn="1"/>
          </p:nvSpPr>
          <p:spPr bwMode="auto">
            <a:xfrm>
              <a:off x="3240" y="1756"/>
              <a:ext cx="433"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6" name="Freeform 28"/>
            <p:cNvSpPr>
              <a:spLocks noEditPoints="1"/>
            </p:cNvSpPr>
            <p:nvPr userDrawn="1"/>
          </p:nvSpPr>
          <p:spPr bwMode="auto">
            <a:xfrm>
              <a:off x="3789" y="1756"/>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2"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7" name="Freeform 29"/>
            <p:cNvSpPr>
              <a:spLocks/>
            </p:cNvSpPr>
            <p:nvPr userDrawn="1"/>
          </p:nvSpPr>
          <p:spPr bwMode="auto">
            <a:xfrm>
              <a:off x="4369"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8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8"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8" name="Freeform 30"/>
            <p:cNvSpPr>
              <a:spLocks/>
            </p:cNvSpPr>
            <p:nvPr userDrawn="1"/>
          </p:nvSpPr>
          <p:spPr bwMode="auto">
            <a:xfrm>
              <a:off x="1379" y="2666"/>
              <a:ext cx="544" cy="769"/>
            </a:xfrm>
            <a:custGeom>
              <a:avLst/>
              <a:gdLst>
                <a:gd name="T0" fmla="*/ 230 w 230"/>
                <a:gd name="T1" fmla="*/ 307 h 325"/>
                <a:gd name="T2" fmla="*/ 145 w 230"/>
                <a:gd name="T3" fmla="*/ 325 h 325"/>
                <a:gd name="T4" fmla="*/ 69 w 230"/>
                <a:gd name="T5" fmla="*/ 306 h 325"/>
                <a:gd name="T6" fmla="*/ 17 w 230"/>
                <a:gd name="T7" fmla="*/ 250 h 325"/>
                <a:gd name="T8" fmla="*/ 0 w 230"/>
                <a:gd name="T9" fmla="*/ 169 h 325"/>
                <a:gd name="T10" fmla="*/ 20 w 230"/>
                <a:gd name="T11" fmla="*/ 82 h 325"/>
                <a:gd name="T12" fmla="*/ 76 w 230"/>
                <a:gd name="T13" fmla="*/ 22 h 325"/>
                <a:gd name="T14" fmla="*/ 157 w 230"/>
                <a:gd name="T15" fmla="*/ 0 h 325"/>
                <a:gd name="T16" fmla="*/ 230 w 230"/>
                <a:gd name="T17" fmla="*/ 13 h 325"/>
                <a:gd name="T18" fmla="*/ 230 w 230"/>
                <a:gd name="T19" fmla="*/ 52 h 325"/>
                <a:gd name="T20" fmla="*/ 157 w 230"/>
                <a:gd name="T21" fmla="*/ 33 h 325"/>
                <a:gd name="T22" fmla="*/ 95 w 230"/>
                <a:gd name="T23" fmla="*/ 50 h 325"/>
                <a:gd name="T24" fmla="*/ 52 w 230"/>
                <a:gd name="T25" fmla="*/ 97 h 325"/>
                <a:gd name="T26" fmla="*/ 37 w 230"/>
                <a:gd name="T27" fmla="*/ 166 h 325"/>
                <a:gd name="T28" fmla="*/ 51 w 230"/>
                <a:gd name="T29" fmla="*/ 232 h 325"/>
                <a:gd name="T30" fmla="*/ 91 w 230"/>
                <a:gd name="T31" fmla="*/ 276 h 325"/>
                <a:gd name="T32" fmla="*/ 150 w 230"/>
                <a:gd name="T33" fmla="*/ 292 h 325"/>
                <a:gd name="T34" fmla="*/ 230 w 230"/>
                <a:gd name="T35" fmla="*/ 271 h 325"/>
                <a:gd name="T36" fmla="*/ 230 w 230"/>
                <a:gd name="T37" fmla="*/ 30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0" h="325">
                  <a:moveTo>
                    <a:pt x="230" y="307"/>
                  </a:moveTo>
                  <a:cubicBezTo>
                    <a:pt x="207" y="319"/>
                    <a:pt x="179" y="325"/>
                    <a:pt x="145" y="325"/>
                  </a:cubicBezTo>
                  <a:cubicBezTo>
                    <a:pt x="116" y="325"/>
                    <a:pt x="91" y="319"/>
                    <a:pt x="69" y="306"/>
                  </a:cubicBezTo>
                  <a:cubicBezTo>
                    <a:pt x="47" y="293"/>
                    <a:pt x="29" y="274"/>
                    <a:pt x="17" y="250"/>
                  </a:cubicBezTo>
                  <a:cubicBezTo>
                    <a:pt x="6" y="226"/>
                    <a:pt x="0" y="199"/>
                    <a:pt x="0" y="169"/>
                  </a:cubicBezTo>
                  <a:cubicBezTo>
                    <a:pt x="0" y="137"/>
                    <a:pt x="6" y="108"/>
                    <a:pt x="20" y="82"/>
                  </a:cubicBezTo>
                  <a:cubicBezTo>
                    <a:pt x="33" y="56"/>
                    <a:pt x="52" y="36"/>
                    <a:pt x="76" y="22"/>
                  </a:cubicBezTo>
                  <a:cubicBezTo>
                    <a:pt x="100" y="7"/>
                    <a:pt x="127" y="0"/>
                    <a:pt x="157" y="0"/>
                  </a:cubicBezTo>
                  <a:cubicBezTo>
                    <a:pt x="186" y="0"/>
                    <a:pt x="210" y="5"/>
                    <a:pt x="230" y="13"/>
                  </a:cubicBezTo>
                  <a:cubicBezTo>
                    <a:pt x="230" y="52"/>
                    <a:pt x="230" y="52"/>
                    <a:pt x="230" y="52"/>
                  </a:cubicBezTo>
                  <a:cubicBezTo>
                    <a:pt x="208" y="40"/>
                    <a:pt x="183" y="33"/>
                    <a:pt x="157" y="33"/>
                  </a:cubicBezTo>
                  <a:cubicBezTo>
                    <a:pt x="133" y="33"/>
                    <a:pt x="113" y="39"/>
                    <a:pt x="95" y="50"/>
                  </a:cubicBezTo>
                  <a:cubicBezTo>
                    <a:pt x="76" y="61"/>
                    <a:pt x="62" y="76"/>
                    <a:pt x="52" y="97"/>
                  </a:cubicBezTo>
                  <a:cubicBezTo>
                    <a:pt x="42" y="117"/>
                    <a:pt x="37" y="140"/>
                    <a:pt x="37" y="166"/>
                  </a:cubicBezTo>
                  <a:cubicBezTo>
                    <a:pt x="37" y="191"/>
                    <a:pt x="42" y="213"/>
                    <a:pt x="51" y="232"/>
                  </a:cubicBezTo>
                  <a:cubicBezTo>
                    <a:pt x="61" y="251"/>
                    <a:pt x="74" y="266"/>
                    <a:pt x="91" y="276"/>
                  </a:cubicBezTo>
                  <a:cubicBezTo>
                    <a:pt x="108" y="287"/>
                    <a:pt x="128" y="292"/>
                    <a:pt x="150" y="292"/>
                  </a:cubicBezTo>
                  <a:cubicBezTo>
                    <a:pt x="181" y="292"/>
                    <a:pt x="207" y="285"/>
                    <a:pt x="230" y="271"/>
                  </a:cubicBezTo>
                  <a:lnTo>
                    <a:pt x="230"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9" name="Freeform 31"/>
            <p:cNvSpPr>
              <a:spLocks noEditPoints="1"/>
            </p:cNvSpPr>
            <p:nvPr userDrawn="1"/>
          </p:nvSpPr>
          <p:spPr bwMode="auto">
            <a:xfrm>
              <a:off x="2020" y="2879"/>
              <a:ext cx="516" cy="556"/>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6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6"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0" name="Freeform 32"/>
            <p:cNvSpPr>
              <a:spLocks/>
            </p:cNvSpPr>
            <p:nvPr userDrawn="1"/>
          </p:nvSpPr>
          <p:spPr bwMode="auto">
            <a:xfrm>
              <a:off x="2663" y="2879"/>
              <a:ext cx="433" cy="544"/>
            </a:xfrm>
            <a:custGeom>
              <a:avLst/>
              <a:gdLst>
                <a:gd name="T0" fmla="*/ 183 w 183"/>
                <a:gd name="T1" fmla="*/ 230 h 230"/>
                <a:gd name="T2" fmla="*/ 148 w 183"/>
                <a:gd name="T3" fmla="*/ 230 h 230"/>
                <a:gd name="T4" fmla="*/ 148 w 183"/>
                <a:gd name="T5" fmla="*/ 102 h 230"/>
                <a:gd name="T6" fmla="*/ 97 w 183"/>
                <a:gd name="T7" fmla="*/ 31 h 230"/>
                <a:gd name="T8" fmla="*/ 53 w 183"/>
                <a:gd name="T9" fmla="*/ 51 h 230"/>
                <a:gd name="T10" fmla="*/ 36 w 183"/>
                <a:gd name="T11" fmla="*/ 102 h 230"/>
                <a:gd name="T12" fmla="*/ 36 w 183"/>
                <a:gd name="T13" fmla="*/ 230 h 230"/>
                <a:gd name="T14" fmla="*/ 0 w 183"/>
                <a:gd name="T15" fmla="*/ 230 h 230"/>
                <a:gd name="T16" fmla="*/ 0 w 183"/>
                <a:gd name="T17" fmla="*/ 5 h 230"/>
                <a:gd name="T18" fmla="*/ 36 w 183"/>
                <a:gd name="T19" fmla="*/ 5 h 230"/>
                <a:gd name="T20" fmla="*/ 36 w 183"/>
                <a:gd name="T21" fmla="*/ 43 h 230"/>
                <a:gd name="T22" fmla="*/ 37 w 183"/>
                <a:gd name="T23" fmla="*/ 43 h 230"/>
                <a:gd name="T24" fmla="*/ 109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8" y="230"/>
                    <a:pt x="148" y="230"/>
                    <a:pt x="148" y="230"/>
                  </a:cubicBezTo>
                  <a:cubicBezTo>
                    <a:pt x="148" y="102"/>
                    <a:pt x="148" y="102"/>
                    <a:pt x="148" y="102"/>
                  </a:cubicBezTo>
                  <a:cubicBezTo>
                    <a:pt x="148" y="54"/>
                    <a:pt x="131" y="31"/>
                    <a:pt x="97" y="31"/>
                  </a:cubicBezTo>
                  <a:cubicBezTo>
                    <a:pt x="79" y="31"/>
                    <a:pt x="65" y="37"/>
                    <a:pt x="53" y="51"/>
                  </a:cubicBezTo>
                  <a:cubicBezTo>
                    <a:pt x="42" y="64"/>
                    <a:pt x="36" y="81"/>
                    <a:pt x="36" y="102"/>
                  </a:cubicBezTo>
                  <a:cubicBezTo>
                    <a:pt x="36" y="230"/>
                    <a:pt x="36" y="230"/>
                    <a:pt x="36" y="230"/>
                  </a:cubicBezTo>
                  <a:cubicBezTo>
                    <a:pt x="0" y="230"/>
                    <a:pt x="0" y="230"/>
                    <a:pt x="0" y="230"/>
                  </a:cubicBezTo>
                  <a:cubicBezTo>
                    <a:pt x="0" y="5"/>
                    <a:pt x="0" y="5"/>
                    <a:pt x="0" y="5"/>
                  </a:cubicBezTo>
                  <a:cubicBezTo>
                    <a:pt x="36" y="5"/>
                    <a:pt x="36" y="5"/>
                    <a:pt x="36" y="5"/>
                  </a:cubicBezTo>
                  <a:cubicBezTo>
                    <a:pt x="36" y="43"/>
                    <a:pt x="36" y="43"/>
                    <a:pt x="36" y="43"/>
                  </a:cubicBezTo>
                  <a:cubicBezTo>
                    <a:pt x="37" y="43"/>
                    <a:pt x="37" y="43"/>
                    <a:pt x="37" y="43"/>
                  </a:cubicBezTo>
                  <a:cubicBezTo>
                    <a:pt x="53" y="14"/>
                    <a:pt x="77" y="0"/>
                    <a:pt x="109" y="0"/>
                  </a:cubicBezTo>
                  <a:cubicBezTo>
                    <a:pt x="133" y="0"/>
                    <a:pt x="152" y="8"/>
                    <a:pt x="164" y="24"/>
                  </a:cubicBezTo>
                  <a:cubicBezTo>
                    <a:pt x="177"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1" name="Freeform 33"/>
            <p:cNvSpPr>
              <a:spLocks/>
            </p:cNvSpPr>
            <p:nvPr userDrawn="1"/>
          </p:nvSpPr>
          <p:spPr bwMode="auto">
            <a:xfrm>
              <a:off x="3198" y="2626"/>
              <a:ext cx="315" cy="797"/>
            </a:xfrm>
            <a:custGeom>
              <a:avLst/>
              <a:gdLst>
                <a:gd name="T0" fmla="*/ 133 w 133"/>
                <a:gd name="T1" fmla="*/ 36 h 337"/>
                <a:gd name="T2" fmla="*/ 110 w 133"/>
                <a:gd name="T3" fmla="*/ 30 h 337"/>
                <a:gd name="T4" fmla="*/ 73 w 133"/>
                <a:gd name="T5" fmla="*/ 78 h 337"/>
                <a:gd name="T6" fmla="*/ 73 w 133"/>
                <a:gd name="T7" fmla="*/ 112 h 337"/>
                <a:gd name="T8" fmla="*/ 124 w 133"/>
                <a:gd name="T9" fmla="*/ 112 h 337"/>
                <a:gd name="T10" fmla="*/ 124 w 133"/>
                <a:gd name="T11" fmla="*/ 143 h 337"/>
                <a:gd name="T12" fmla="*/ 73 w 133"/>
                <a:gd name="T13" fmla="*/ 143 h 337"/>
                <a:gd name="T14" fmla="*/ 73 w 133"/>
                <a:gd name="T15" fmla="*/ 337 h 337"/>
                <a:gd name="T16" fmla="*/ 37 w 133"/>
                <a:gd name="T17" fmla="*/ 337 h 337"/>
                <a:gd name="T18" fmla="*/ 37 w 133"/>
                <a:gd name="T19" fmla="*/ 143 h 337"/>
                <a:gd name="T20" fmla="*/ 0 w 133"/>
                <a:gd name="T21" fmla="*/ 143 h 337"/>
                <a:gd name="T22" fmla="*/ 0 w 133"/>
                <a:gd name="T23" fmla="*/ 112 h 337"/>
                <a:gd name="T24" fmla="*/ 37 w 133"/>
                <a:gd name="T25" fmla="*/ 112 h 337"/>
                <a:gd name="T26" fmla="*/ 37 w 133"/>
                <a:gd name="T27" fmla="*/ 76 h 337"/>
                <a:gd name="T28" fmla="*/ 57 w 133"/>
                <a:gd name="T29" fmla="*/ 21 h 337"/>
                <a:gd name="T30" fmla="*/ 107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6" y="32"/>
                    <a:pt x="118" y="30"/>
                    <a:pt x="110" y="30"/>
                  </a:cubicBezTo>
                  <a:cubicBezTo>
                    <a:pt x="85" y="30"/>
                    <a:pt x="73" y="46"/>
                    <a:pt x="73" y="78"/>
                  </a:cubicBezTo>
                  <a:cubicBezTo>
                    <a:pt x="73" y="112"/>
                    <a:pt x="73" y="112"/>
                    <a:pt x="73" y="112"/>
                  </a:cubicBezTo>
                  <a:cubicBezTo>
                    <a:pt x="124" y="112"/>
                    <a:pt x="124" y="112"/>
                    <a:pt x="124" y="112"/>
                  </a:cubicBezTo>
                  <a:cubicBezTo>
                    <a:pt x="124" y="143"/>
                    <a:pt x="124" y="143"/>
                    <a:pt x="124" y="143"/>
                  </a:cubicBezTo>
                  <a:cubicBezTo>
                    <a:pt x="73" y="143"/>
                    <a:pt x="73" y="143"/>
                    <a:pt x="73" y="143"/>
                  </a:cubicBezTo>
                  <a:cubicBezTo>
                    <a:pt x="73" y="337"/>
                    <a:pt x="73" y="337"/>
                    <a:pt x="73" y="337"/>
                  </a:cubicBezTo>
                  <a:cubicBezTo>
                    <a:pt x="37" y="337"/>
                    <a:pt x="37" y="337"/>
                    <a:pt x="37" y="337"/>
                  </a:cubicBezTo>
                  <a:cubicBezTo>
                    <a:pt x="37" y="143"/>
                    <a:pt x="37" y="143"/>
                    <a:pt x="37" y="143"/>
                  </a:cubicBezTo>
                  <a:cubicBezTo>
                    <a:pt x="0" y="143"/>
                    <a:pt x="0" y="143"/>
                    <a:pt x="0" y="143"/>
                  </a:cubicBezTo>
                  <a:cubicBezTo>
                    <a:pt x="0" y="112"/>
                    <a:pt x="0" y="112"/>
                    <a:pt x="0" y="112"/>
                  </a:cubicBezTo>
                  <a:cubicBezTo>
                    <a:pt x="37" y="112"/>
                    <a:pt x="37" y="112"/>
                    <a:pt x="37" y="112"/>
                  </a:cubicBezTo>
                  <a:cubicBezTo>
                    <a:pt x="37" y="76"/>
                    <a:pt x="37" y="76"/>
                    <a:pt x="37" y="76"/>
                  </a:cubicBezTo>
                  <a:cubicBezTo>
                    <a:pt x="37" y="53"/>
                    <a:pt x="44" y="35"/>
                    <a:pt x="57" y="21"/>
                  </a:cubicBezTo>
                  <a:cubicBezTo>
                    <a:pt x="70" y="7"/>
                    <a:pt x="87" y="0"/>
                    <a:pt x="107" y="0"/>
                  </a:cubicBezTo>
                  <a:cubicBezTo>
                    <a:pt x="118"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2" name="Freeform 34"/>
            <p:cNvSpPr>
              <a:spLocks noEditPoints="1"/>
            </p:cNvSpPr>
            <p:nvPr userDrawn="1"/>
          </p:nvSpPr>
          <p:spPr bwMode="auto">
            <a:xfrm>
              <a:off x="3541" y="2879"/>
              <a:ext cx="456"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1 w 193"/>
                <a:gd name="T35" fmla="*/ 31 h 235"/>
                <a:gd name="T36" fmla="*/ 59 w 193"/>
                <a:gd name="T37" fmla="*/ 49 h 235"/>
                <a:gd name="T38" fmla="*/ 37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2" y="235"/>
                    <a:pt x="101" y="235"/>
                  </a:cubicBezTo>
                  <a:cubicBezTo>
                    <a:pt x="69" y="235"/>
                    <a:pt x="45" y="225"/>
                    <a:pt x="27" y="204"/>
                  </a:cubicBezTo>
                  <a:cubicBezTo>
                    <a:pt x="9" y="183"/>
                    <a:pt x="0" y="155"/>
                    <a:pt x="0" y="118"/>
                  </a:cubicBezTo>
                  <a:cubicBezTo>
                    <a:pt x="0" y="96"/>
                    <a:pt x="5" y="76"/>
                    <a:pt x="14" y="58"/>
                  </a:cubicBezTo>
                  <a:cubicBezTo>
                    <a:pt x="22" y="39"/>
                    <a:pt x="35" y="25"/>
                    <a:pt x="50" y="15"/>
                  </a:cubicBezTo>
                  <a:cubicBezTo>
                    <a:pt x="66" y="5"/>
                    <a:pt x="83" y="0"/>
                    <a:pt x="102" y="0"/>
                  </a:cubicBezTo>
                  <a:cubicBezTo>
                    <a:pt x="130" y="0"/>
                    <a:pt x="153" y="9"/>
                    <a:pt x="169" y="28"/>
                  </a:cubicBezTo>
                  <a:cubicBezTo>
                    <a:pt x="185" y="47"/>
                    <a:pt x="193" y="74"/>
                    <a:pt x="193" y="108"/>
                  </a:cubicBezTo>
                  <a:lnTo>
                    <a:pt x="193" y="126"/>
                  </a:lnTo>
                  <a:close/>
                  <a:moveTo>
                    <a:pt x="157" y="96"/>
                  </a:moveTo>
                  <a:cubicBezTo>
                    <a:pt x="156" y="75"/>
                    <a:pt x="151" y="59"/>
                    <a:pt x="142" y="48"/>
                  </a:cubicBezTo>
                  <a:cubicBezTo>
                    <a:pt x="132" y="36"/>
                    <a:pt x="119" y="31"/>
                    <a:pt x="101" y="31"/>
                  </a:cubicBezTo>
                  <a:cubicBezTo>
                    <a:pt x="85" y="31"/>
                    <a:pt x="71" y="37"/>
                    <a:pt x="59" y="49"/>
                  </a:cubicBezTo>
                  <a:cubicBezTo>
                    <a:pt x="48" y="60"/>
                    <a:pt x="40" y="76"/>
                    <a:pt x="37"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3" name="Freeform 35"/>
            <p:cNvSpPr>
              <a:spLocks/>
            </p:cNvSpPr>
            <p:nvPr userDrawn="1"/>
          </p:nvSpPr>
          <p:spPr bwMode="auto">
            <a:xfrm>
              <a:off x="4118" y="2882"/>
              <a:ext cx="274" cy="541"/>
            </a:xfrm>
            <a:custGeom>
              <a:avLst/>
              <a:gdLst>
                <a:gd name="T0" fmla="*/ 116 w 116"/>
                <a:gd name="T1" fmla="*/ 41 h 229"/>
                <a:gd name="T2" fmla="*/ 89 w 116"/>
                <a:gd name="T3" fmla="*/ 33 h 229"/>
                <a:gd name="T4" fmla="*/ 50 w 116"/>
                <a:gd name="T5" fmla="*/ 56 h 229"/>
                <a:gd name="T6" fmla="*/ 36 w 116"/>
                <a:gd name="T7" fmla="*/ 114 h 229"/>
                <a:gd name="T8" fmla="*/ 36 w 116"/>
                <a:gd name="T9" fmla="*/ 229 h 229"/>
                <a:gd name="T10" fmla="*/ 0 w 116"/>
                <a:gd name="T11" fmla="*/ 229 h 229"/>
                <a:gd name="T12" fmla="*/ 0 w 116"/>
                <a:gd name="T13" fmla="*/ 4 h 229"/>
                <a:gd name="T14" fmla="*/ 36 w 116"/>
                <a:gd name="T15" fmla="*/ 4 h 229"/>
                <a:gd name="T16" fmla="*/ 36 w 116"/>
                <a:gd name="T17" fmla="*/ 51 h 229"/>
                <a:gd name="T18" fmla="*/ 37 w 116"/>
                <a:gd name="T19" fmla="*/ 51 h 229"/>
                <a:gd name="T20" fmla="*/ 59 w 116"/>
                <a:gd name="T21" fmla="*/ 14 h 229"/>
                <a:gd name="T22" fmla="*/ 94 w 116"/>
                <a:gd name="T23" fmla="*/ 0 h 229"/>
                <a:gd name="T24" fmla="*/ 116 w 116"/>
                <a:gd name="T25" fmla="*/ 3 h 229"/>
                <a:gd name="T26" fmla="*/ 116 w 116"/>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229">
                  <a:moveTo>
                    <a:pt x="116" y="41"/>
                  </a:moveTo>
                  <a:cubicBezTo>
                    <a:pt x="109" y="36"/>
                    <a:pt x="100" y="33"/>
                    <a:pt x="89" y="33"/>
                  </a:cubicBezTo>
                  <a:cubicBezTo>
                    <a:pt x="73" y="33"/>
                    <a:pt x="60" y="41"/>
                    <a:pt x="50" y="56"/>
                  </a:cubicBezTo>
                  <a:cubicBezTo>
                    <a:pt x="41"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7" y="51"/>
                    <a:pt x="37" y="51"/>
                    <a:pt x="37" y="51"/>
                  </a:cubicBezTo>
                  <a:cubicBezTo>
                    <a:pt x="42" y="35"/>
                    <a:pt x="49" y="23"/>
                    <a:pt x="59" y="14"/>
                  </a:cubicBezTo>
                  <a:cubicBezTo>
                    <a:pt x="69" y="5"/>
                    <a:pt x="81" y="0"/>
                    <a:pt x="94" y="0"/>
                  </a:cubicBezTo>
                  <a:cubicBezTo>
                    <a:pt x="104" y="0"/>
                    <a:pt x="111" y="1"/>
                    <a:pt x="116" y="3"/>
                  </a:cubicBezTo>
                  <a:lnTo>
                    <a:pt x="11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4" name="Freeform 36"/>
            <p:cNvSpPr>
              <a:spLocks noEditPoints="1"/>
            </p:cNvSpPr>
            <p:nvPr userDrawn="1"/>
          </p:nvSpPr>
          <p:spPr bwMode="auto">
            <a:xfrm>
              <a:off x="4428" y="2879"/>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1"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5" name="Freeform 37"/>
            <p:cNvSpPr>
              <a:spLocks/>
            </p:cNvSpPr>
            <p:nvPr userDrawn="1"/>
          </p:nvSpPr>
          <p:spPr bwMode="auto">
            <a:xfrm>
              <a:off x="5008" y="2879"/>
              <a:ext cx="432"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6" name="Freeform 38"/>
            <p:cNvSpPr>
              <a:spLocks/>
            </p:cNvSpPr>
            <p:nvPr userDrawn="1"/>
          </p:nvSpPr>
          <p:spPr bwMode="auto">
            <a:xfrm>
              <a:off x="5559" y="2879"/>
              <a:ext cx="390" cy="556"/>
            </a:xfrm>
            <a:custGeom>
              <a:avLst/>
              <a:gdLst>
                <a:gd name="T0" fmla="*/ 165 w 165"/>
                <a:gd name="T1" fmla="*/ 219 h 235"/>
                <a:gd name="T2" fmla="*/ 104 w 165"/>
                <a:gd name="T3" fmla="*/ 235 h 235"/>
                <a:gd name="T4" fmla="*/ 50 w 165"/>
                <a:gd name="T5" fmla="*/ 221 h 235"/>
                <a:gd name="T6" fmla="*/ 13 w 165"/>
                <a:gd name="T7" fmla="*/ 181 h 235"/>
                <a:gd name="T8" fmla="*/ 0 w 165"/>
                <a:gd name="T9" fmla="*/ 123 h 235"/>
                <a:gd name="T10" fmla="*/ 31 w 165"/>
                <a:gd name="T11" fmla="*/ 34 h 235"/>
                <a:gd name="T12" fmla="*/ 114 w 165"/>
                <a:gd name="T13" fmla="*/ 0 h 235"/>
                <a:gd name="T14" fmla="*/ 165 w 165"/>
                <a:gd name="T15" fmla="*/ 11 h 235"/>
                <a:gd name="T16" fmla="*/ 165 w 165"/>
                <a:gd name="T17" fmla="*/ 48 h 235"/>
                <a:gd name="T18" fmla="*/ 113 w 165"/>
                <a:gd name="T19" fmla="*/ 31 h 235"/>
                <a:gd name="T20" fmla="*/ 57 w 165"/>
                <a:gd name="T21" fmla="*/ 55 h 235"/>
                <a:gd name="T22" fmla="*/ 36 w 165"/>
                <a:gd name="T23" fmla="*/ 120 h 235"/>
                <a:gd name="T24" fmla="*/ 56 w 165"/>
                <a:gd name="T25" fmla="*/ 182 h 235"/>
                <a:gd name="T26" fmla="*/ 111 w 165"/>
                <a:gd name="T27" fmla="*/ 204 h 235"/>
                <a:gd name="T28" fmla="*/ 165 w 165"/>
                <a:gd name="T29" fmla="*/ 185 h 235"/>
                <a:gd name="T30" fmla="*/ 165 w 165"/>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235">
                  <a:moveTo>
                    <a:pt x="165" y="219"/>
                  </a:moveTo>
                  <a:cubicBezTo>
                    <a:pt x="148" y="230"/>
                    <a:pt x="128" y="235"/>
                    <a:pt x="104" y="235"/>
                  </a:cubicBezTo>
                  <a:cubicBezTo>
                    <a:pt x="84" y="235"/>
                    <a:pt x="66" y="230"/>
                    <a:pt x="50" y="221"/>
                  </a:cubicBezTo>
                  <a:cubicBezTo>
                    <a:pt x="34" y="212"/>
                    <a:pt x="22" y="198"/>
                    <a:pt x="13" y="181"/>
                  </a:cubicBezTo>
                  <a:cubicBezTo>
                    <a:pt x="4" y="164"/>
                    <a:pt x="0" y="144"/>
                    <a:pt x="0" y="123"/>
                  </a:cubicBezTo>
                  <a:cubicBezTo>
                    <a:pt x="0" y="86"/>
                    <a:pt x="10" y="56"/>
                    <a:pt x="31" y="34"/>
                  </a:cubicBezTo>
                  <a:cubicBezTo>
                    <a:pt x="52" y="11"/>
                    <a:pt x="80" y="0"/>
                    <a:pt x="114" y="0"/>
                  </a:cubicBezTo>
                  <a:cubicBezTo>
                    <a:pt x="134" y="0"/>
                    <a:pt x="151" y="4"/>
                    <a:pt x="165" y="11"/>
                  </a:cubicBezTo>
                  <a:cubicBezTo>
                    <a:pt x="165" y="48"/>
                    <a:pt x="165" y="48"/>
                    <a:pt x="165" y="48"/>
                  </a:cubicBezTo>
                  <a:cubicBezTo>
                    <a:pt x="149" y="36"/>
                    <a:pt x="131" y="31"/>
                    <a:pt x="113" y="31"/>
                  </a:cubicBezTo>
                  <a:cubicBezTo>
                    <a:pt x="90" y="31"/>
                    <a:pt x="71" y="39"/>
                    <a:pt x="57" y="55"/>
                  </a:cubicBezTo>
                  <a:cubicBezTo>
                    <a:pt x="43" y="72"/>
                    <a:pt x="36" y="93"/>
                    <a:pt x="36" y="120"/>
                  </a:cubicBezTo>
                  <a:cubicBezTo>
                    <a:pt x="36" y="146"/>
                    <a:pt x="42" y="167"/>
                    <a:pt x="56" y="182"/>
                  </a:cubicBezTo>
                  <a:cubicBezTo>
                    <a:pt x="70" y="197"/>
                    <a:pt x="88" y="204"/>
                    <a:pt x="111" y="204"/>
                  </a:cubicBezTo>
                  <a:cubicBezTo>
                    <a:pt x="130" y="204"/>
                    <a:pt x="148" y="198"/>
                    <a:pt x="165" y="185"/>
                  </a:cubicBezTo>
                  <a:lnTo>
                    <a:pt x="165"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7" name="Freeform 39"/>
            <p:cNvSpPr>
              <a:spLocks noEditPoints="1"/>
            </p:cNvSpPr>
            <p:nvPr userDrawn="1"/>
          </p:nvSpPr>
          <p:spPr bwMode="auto">
            <a:xfrm>
              <a:off x="6037" y="2879"/>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9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9"/>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8" name="Freeform 40"/>
            <p:cNvSpPr>
              <a:spLocks/>
            </p:cNvSpPr>
            <p:nvPr userDrawn="1"/>
          </p:nvSpPr>
          <p:spPr bwMode="auto">
            <a:xfrm>
              <a:off x="1388" y="3830"/>
              <a:ext cx="282" cy="404"/>
            </a:xfrm>
            <a:custGeom>
              <a:avLst/>
              <a:gdLst>
                <a:gd name="T0" fmla="*/ 282 w 282"/>
                <a:gd name="T1" fmla="*/ 42 h 404"/>
                <a:gd name="T2" fmla="*/ 166 w 282"/>
                <a:gd name="T3" fmla="*/ 42 h 404"/>
                <a:gd name="T4" fmla="*/ 166 w 282"/>
                <a:gd name="T5" fmla="*/ 404 h 404"/>
                <a:gd name="T6" fmla="*/ 119 w 282"/>
                <a:gd name="T7" fmla="*/ 404 h 404"/>
                <a:gd name="T8" fmla="*/ 119 w 282"/>
                <a:gd name="T9" fmla="*/ 42 h 404"/>
                <a:gd name="T10" fmla="*/ 0 w 282"/>
                <a:gd name="T11" fmla="*/ 42 h 404"/>
                <a:gd name="T12" fmla="*/ 0 w 282"/>
                <a:gd name="T13" fmla="*/ 0 h 404"/>
                <a:gd name="T14" fmla="*/ 282 w 282"/>
                <a:gd name="T15" fmla="*/ 0 h 404"/>
                <a:gd name="T16" fmla="*/ 282 w 282"/>
                <a:gd name="T17" fmla="*/ 42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2" h="404">
                  <a:moveTo>
                    <a:pt x="282" y="42"/>
                  </a:moveTo>
                  <a:lnTo>
                    <a:pt x="166" y="42"/>
                  </a:lnTo>
                  <a:lnTo>
                    <a:pt x="166" y="404"/>
                  </a:lnTo>
                  <a:lnTo>
                    <a:pt x="119" y="404"/>
                  </a:lnTo>
                  <a:lnTo>
                    <a:pt x="119" y="42"/>
                  </a:lnTo>
                  <a:lnTo>
                    <a:pt x="0" y="42"/>
                  </a:lnTo>
                  <a:lnTo>
                    <a:pt x="0" y="0"/>
                  </a:lnTo>
                  <a:lnTo>
                    <a:pt x="282" y="0"/>
                  </a:lnTo>
                  <a:lnTo>
                    <a:pt x="282"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9" name="Freeform 41"/>
            <p:cNvSpPr>
              <a:spLocks noEditPoints="1"/>
            </p:cNvSpPr>
            <p:nvPr userDrawn="1"/>
          </p:nvSpPr>
          <p:spPr bwMode="auto">
            <a:xfrm>
              <a:off x="1646"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0" name="Freeform 42"/>
            <p:cNvSpPr>
              <a:spLocks/>
            </p:cNvSpPr>
            <p:nvPr userDrawn="1"/>
          </p:nvSpPr>
          <p:spPr bwMode="auto">
            <a:xfrm>
              <a:off x="2001" y="3941"/>
              <a:ext cx="151" cy="293"/>
            </a:xfrm>
            <a:custGeom>
              <a:avLst/>
              <a:gdLst>
                <a:gd name="T0" fmla="*/ 64 w 64"/>
                <a:gd name="T1" fmla="*/ 22 h 124"/>
                <a:gd name="T2" fmla="*/ 49 w 64"/>
                <a:gd name="T3" fmla="*/ 18 h 124"/>
                <a:gd name="T4" fmla="*/ 28 w 64"/>
                <a:gd name="T5" fmla="*/ 30 h 124"/>
                <a:gd name="T6" fmla="*/ 20 w 64"/>
                <a:gd name="T7" fmla="*/ 62 h 124"/>
                <a:gd name="T8" fmla="*/ 20 w 64"/>
                <a:gd name="T9" fmla="*/ 124 h 124"/>
                <a:gd name="T10" fmla="*/ 0 w 64"/>
                <a:gd name="T11" fmla="*/ 124 h 124"/>
                <a:gd name="T12" fmla="*/ 0 w 64"/>
                <a:gd name="T13" fmla="*/ 2 h 124"/>
                <a:gd name="T14" fmla="*/ 20 w 64"/>
                <a:gd name="T15" fmla="*/ 2 h 124"/>
                <a:gd name="T16" fmla="*/ 20 w 64"/>
                <a:gd name="T17" fmla="*/ 27 h 124"/>
                <a:gd name="T18" fmla="*/ 20 w 64"/>
                <a:gd name="T19" fmla="*/ 27 h 124"/>
                <a:gd name="T20" fmla="*/ 33 w 64"/>
                <a:gd name="T21" fmla="*/ 7 h 124"/>
                <a:gd name="T22" fmla="*/ 52 w 64"/>
                <a:gd name="T23" fmla="*/ 0 h 124"/>
                <a:gd name="T24" fmla="*/ 64 w 64"/>
                <a:gd name="T25" fmla="*/ 2 h 124"/>
                <a:gd name="T26" fmla="*/ 64 w 64"/>
                <a:gd name="T27" fmla="*/ 2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24">
                  <a:moveTo>
                    <a:pt x="64" y="22"/>
                  </a:moveTo>
                  <a:cubicBezTo>
                    <a:pt x="61" y="19"/>
                    <a:pt x="56" y="18"/>
                    <a:pt x="49" y="18"/>
                  </a:cubicBezTo>
                  <a:cubicBezTo>
                    <a:pt x="40" y="18"/>
                    <a:pt x="33" y="22"/>
                    <a:pt x="28" y="30"/>
                  </a:cubicBezTo>
                  <a:cubicBezTo>
                    <a:pt x="23" y="38"/>
                    <a:pt x="20" y="49"/>
                    <a:pt x="20" y="62"/>
                  </a:cubicBezTo>
                  <a:cubicBezTo>
                    <a:pt x="20" y="124"/>
                    <a:pt x="20" y="124"/>
                    <a:pt x="20" y="124"/>
                  </a:cubicBezTo>
                  <a:cubicBezTo>
                    <a:pt x="0" y="124"/>
                    <a:pt x="0" y="124"/>
                    <a:pt x="0" y="124"/>
                  </a:cubicBezTo>
                  <a:cubicBezTo>
                    <a:pt x="0" y="2"/>
                    <a:pt x="0" y="2"/>
                    <a:pt x="0" y="2"/>
                  </a:cubicBezTo>
                  <a:cubicBezTo>
                    <a:pt x="20" y="2"/>
                    <a:pt x="20" y="2"/>
                    <a:pt x="20" y="2"/>
                  </a:cubicBezTo>
                  <a:cubicBezTo>
                    <a:pt x="20" y="27"/>
                    <a:pt x="20" y="27"/>
                    <a:pt x="20" y="27"/>
                  </a:cubicBezTo>
                  <a:cubicBezTo>
                    <a:pt x="20" y="27"/>
                    <a:pt x="20" y="27"/>
                    <a:pt x="20" y="27"/>
                  </a:cubicBezTo>
                  <a:cubicBezTo>
                    <a:pt x="23" y="19"/>
                    <a:pt x="27" y="12"/>
                    <a:pt x="33" y="7"/>
                  </a:cubicBezTo>
                  <a:cubicBezTo>
                    <a:pt x="39" y="2"/>
                    <a:pt x="45" y="0"/>
                    <a:pt x="52" y="0"/>
                  </a:cubicBezTo>
                  <a:cubicBezTo>
                    <a:pt x="57" y="0"/>
                    <a:pt x="61" y="0"/>
                    <a:pt x="64" y="2"/>
                  </a:cubicBezTo>
                  <a:lnTo>
                    <a:pt x="6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1" name="Freeform 43"/>
            <p:cNvSpPr>
              <a:spLocks noEditPoints="1"/>
            </p:cNvSpPr>
            <p:nvPr userDrawn="1"/>
          </p:nvSpPr>
          <p:spPr bwMode="auto">
            <a:xfrm>
              <a:off x="2174" y="3939"/>
              <a:ext cx="283"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2" name="Freeform 44"/>
            <p:cNvSpPr>
              <a:spLocks/>
            </p:cNvSpPr>
            <p:nvPr userDrawn="1"/>
          </p:nvSpPr>
          <p:spPr bwMode="auto">
            <a:xfrm>
              <a:off x="2528" y="3939"/>
              <a:ext cx="242" cy="295"/>
            </a:xfrm>
            <a:custGeom>
              <a:avLst/>
              <a:gdLst>
                <a:gd name="T0" fmla="*/ 102 w 102"/>
                <a:gd name="T1" fmla="*/ 125 h 125"/>
                <a:gd name="T2" fmla="*/ 82 w 102"/>
                <a:gd name="T3" fmla="*/ 125 h 125"/>
                <a:gd name="T4" fmla="*/ 82 w 102"/>
                <a:gd name="T5" fmla="*/ 55 h 125"/>
                <a:gd name="T6" fmla="*/ 54 w 102"/>
                <a:gd name="T7" fmla="*/ 17 h 125"/>
                <a:gd name="T8" fmla="*/ 30 w 102"/>
                <a:gd name="T9" fmla="*/ 28 h 125"/>
                <a:gd name="T10" fmla="*/ 20 w 102"/>
                <a:gd name="T11" fmla="*/ 55 h 125"/>
                <a:gd name="T12" fmla="*/ 20 w 102"/>
                <a:gd name="T13" fmla="*/ 125 h 125"/>
                <a:gd name="T14" fmla="*/ 0 w 102"/>
                <a:gd name="T15" fmla="*/ 125 h 125"/>
                <a:gd name="T16" fmla="*/ 0 w 102"/>
                <a:gd name="T17" fmla="*/ 3 h 125"/>
                <a:gd name="T18" fmla="*/ 20 w 102"/>
                <a:gd name="T19" fmla="*/ 3 h 125"/>
                <a:gd name="T20" fmla="*/ 20 w 102"/>
                <a:gd name="T21" fmla="*/ 23 h 125"/>
                <a:gd name="T22" fmla="*/ 20 w 102"/>
                <a:gd name="T23" fmla="*/ 23 h 125"/>
                <a:gd name="T24" fmla="*/ 60 w 102"/>
                <a:gd name="T25" fmla="*/ 0 h 125"/>
                <a:gd name="T26" fmla="*/ 91 w 102"/>
                <a:gd name="T27" fmla="*/ 13 h 125"/>
                <a:gd name="T28" fmla="*/ 102 w 102"/>
                <a:gd name="T29" fmla="*/ 50 h 125"/>
                <a:gd name="T30" fmla="*/ 102 w 102"/>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25">
                  <a:moveTo>
                    <a:pt x="102" y="125"/>
                  </a:moveTo>
                  <a:cubicBezTo>
                    <a:pt x="82" y="125"/>
                    <a:pt x="82" y="125"/>
                    <a:pt x="82" y="125"/>
                  </a:cubicBezTo>
                  <a:cubicBezTo>
                    <a:pt x="82" y="55"/>
                    <a:pt x="82" y="55"/>
                    <a:pt x="82" y="55"/>
                  </a:cubicBezTo>
                  <a:cubicBezTo>
                    <a:pt x="82" y="30"/>
                    <a:pt x="73" y="17"/>
                    <a:pt x="54" y="17"/>
                  </a:cubicBezTo>
                  <a:cubicBezTo>
                    <a:pt x="44" y="17"/>
                    <a:pt x="36" y="20"/>
                    <a:pt x="30" y="28"/>
                  </a:cubicBezTo>
                  <a:cubicBezTo>
                    <a:pt x="23" y="35"/>
                    <a:pt x="20" y="44"/>
                    <a:pt x="20" y="55"/>
                  </a:cubicBezTo>
                  <a:cubicBezTo>
                    <a:pt x="20" y="125"/>
                    <a:pt x="20" y="125"/>
                    <a:pt x="20" y="125"/>
                  </a:cubicBezTo>
                  <a:cubicBezTo>
                    <a:pt x="0" y="125"/>
                    <a:pt x="0" y="125"/>
                    <a:pt x="0" y="125"/>
                  </a:cubicBezTo>
                  <a:cubicBezTo>
                    <a:pt x="0" y="3"/>
                    <a:pt x="0" y="3"/>
                    <a:pt x="0" y="3"/>
                  </a:cubicBezTo>
                  <a:cubicBezTo>
                    <a:pt x="20" y="3"/>
                    <a:pt x="20" y="3"/>
                    <a:pt x="20" y="3"/>
                  </a:cubicBezTo>
                  <a:cubicBezTo>
                    <a:pt x="20" y="23"/>
                    <a:pt x="20" y="23"/>
                    <a:pt x="20" y="23"/>
                  </a:cubicBezTo>
                  <a:cubicBezTo>
                    <a:pt x="20" y="23"/>
                    <a:pt x="20" y="23"/>
                    <a:pt x="20" y="23"/>
                  </a:cubicBezTo>
                  <a:cubicBezTo>
                    <a:pt x="29" y="8"/>
                    <a:pt x="43" y="0"/>
                    <a:pt x="60" y="0"/>
                  </a:cubicBezTo>
                  <a:cubicBezTo>
                    <a:pt x="74" y="0"/>
                    <a:pt x="84" y="4"/>
                    <a:pt x="91" y="13"/>
                  </a:cubicBezTo>
                  <a:cubicBezTo>
                    <a:pt x="98" y="22"/>
                    <a:pt x="102" y="34"/>
                    <a:pt x="102" y="50"/>
                  </a:cubicBezTo>
                  <a:lnTo>
                    <a:pt x="102"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3" name="Freeform 45"/>
            <p:cNvSpPr>
              <a:spLocks/>
            </p:cNvSpPr>
            <p:nvPr userDrawn="1"/>
          </p:nvSpPr>
          <p:spPr bwMode="auto">
            <a:xfrm>
              <a:off x="2822" y="3861"/>
              <a:ext cx="168" cy="380"/>
            </a:xfrm>
            <a:custGeom>
              <a:avLst/>
              <a:gdLst>
                <a:gd name="T0" fmla="*/ 71 w 71"/>
                <a:gd name="T1" fmla="*/ 157 h 161"/>
                <a:gd name="T2" fmla="*/ 53 w 71"/>
                <a:gd name="T3" fmla="*/ 161 h 161"/>
                <a:gd name="T4" fmla="*/ 21 w 71"/>
                <a:gd name="T5" fmla="*/ 125 h 161"/>
                <a:gd name="T6" fmla="*/ 21 w 71"/>
                <a:gd name="T7" fmla="*/ 53 h 161"/>
                <a:gd name="T8" fmla="*/ 0 w 71"/>
                <a:gd name="T9" fmla="*/ 53 h 161"/>
                <a:gd name="T10" fmla="*/ 0 w 71"/>
                <a:gd name="T11" fmla="*/ 36 h 161"/>
                <a:gd name="T12" fmla="*/ 21 w 71"/>
                <a:gd name="T13" fmla="*/ 36 h 161"/>
                <a:gd name="T14" fmla="*/ 21 w 71"/>
                <a:gd name="T15" fmla="*/ 6 h 161"/>
                <a:gd name="T16" fmla="*/ 40 w 71"/>
                <a:gd name="T17" fmla="*/ 0 h 161"/>
                <a:gd name="T18" fmla="*/ 40 w 71"/>
                <a:gd name="T19" fmla="*/ 36 h 161"/>
                <a:gd name="T20" fmla="*/ 71 w 71"/>
                <a:gd name="T21" fmla="*/ 36 h 161"/>
                <a:gd name="T22" fmla="*/ 71 w 71"/>
                <a:gd name="T23" fmla="*/ 53 h 161"/>
                <a:gd name="T24" fmla="*/ 40 w 71"/>
                <a:gd name="T25" fmla="*/ 53 h 161"/>
                <a:gd name="T26" fmla="*/ 40 w 71"/>
                <a:gd name="T27" fmla="*/ 122 h 161"/>
                <a:gd name="T28" fmla="*/ 45 w 71"/>
                <a:gd name="T29" fmla="*/ 139 h 161"/>
                <a:gd name="T30" fmla="*/ 59 w 71"/>
                <a:gd name="T31" fmla="*/ 144 h 161"/>
                <a:gd name="T32" fmla="*/ 71 w 71"/>
                <a:gd name="T33" fmla="*/ 140 h 161"/>
                <a:gd name="T34" fmla="*/ 71 w 71"/>
                <a:gd name="T35" fmla="*/ 15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 h="161">
                  <a:moveTo>
                    <a:pt x="71" y="157"/>
                  </a:moveTo>
                  <a:cubicBezTo>
                    <a:pt x="66" y="160"/>
                    <a:pt x="60" y="161"/>
                    <a:pt x="53" y="161"/>
                  </a:cubicBezTo>
                  <a:cubicBezTo>
                    <a:pt x="31" y="161"/>
                    <a:pt x="21" y="149"/>
                    <a:pt x="21" y="125"/>
                  </a:cubicBezTo>
                  <a:cubicBezTo>
                    <a:pt x="21" y="53"/>
                    <a:pt x="21" y="53"/>
                    <a:pt x="21" y="53"/>
                  </a:cubicBezTo>
                  <a:cubicBezTo>
                    <a:pt x="0" y="53"/>
                    <a:pt x="0" y="53"/>
                    <a:pt x="0" y="53"/>
                  </a:cubicBezTo>
                  <a:cubicBezTo>
                    <a:pt x="0" y="36"/>
                    <a:pt x="0" y="36"/>
                    <a:pt x="0" y="36"/>
                  </a:cubicBezTo>
                  <a:cubicBezTo>
                    <a:pt x="21" y="36"/>
                    <a:pt x="21" y="36"/>
                    <a:pt x="21" y="36"/>
                  </a:cubicBezTo>
                  <a:cubicBezTo>
                    <a:pt x="21" y="6"/>
                    <a:pt x="21" y="6"/>
                    <a:pt x="21" y="6"/>
                  </a:cubicBezTo>
                  <a:cubicBezTo>
                    <a:pt x="40" y="0"/>
                    <a:pt x="40" y="0"/>
                    <a:pt x="40" y="0"/>
                  </a:cubicBezTo>
                  <a:cubicBezTo>
                    <a:pt x="40" y="36"/>
                    <a:pt x="40" y="36"/>
                    <a:pt x="40" y="36"/>
                  </a:cubicBezTo>
                  <a:cubicBezTo>
                    <a:pt x="71" y="36"/>
                    <a:pt x="71" y="36"/>
                    <a:pt x="71" y="36"/>
                  </a:cubicBezTo>
                  <a:cubicBezTo>
                    <a:pt x="71" y="53"/>
                    <a:pt x="71" y="53"/>
                    <a:pt x="71" y="53"/>
                  </a:cubicBezTo>
                  <a:cubicBezTo>
                    <a:pt x="40" y="53"/>
                    <a:pt x="40" y="53"/>
                    <a:pt x="40" y="53"/>
                  </a:cubicBezTo>
                  <a:cubicBezTo>
                    <a:pt x="40" y="122"/>
                    <a:pt x="40" y="122"/>
                    <a:pt x="40" y="122"/>
                  </a:cubicBezTo>
                  <a:cubicBezTo>
                    <a:pt x="40" y="130"/>
                    <a:pt x="42" y="136"/>
                    <a:pt x="45" y="139"/>
                  </a:cubicBezTo>
                  <a:cubicBezTo>
                    <a:pt x="47" y="142"/>
                    <a:pt x="52" y="144"/>
                    <a:pt x="59" y="144"/>
                  </a:cubicBezTo>
                  <a:cubicBezTo>
                    <a:pt x="63" y="144"/>
                    <a:pt x="68" y="143"/>
                    <a:pt x="71" y="140"/>
                  </a:cubicBezTo>
                  <a:lnTo>
                    <a:pt x="71"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4" name="Freeform 46"/>
            <p:cNvSpPr>
              <a:spLocks noEditPoints="1"/>
            </p:cNvSpPr>
            <p:nvPr userDrawn="1"/>
          </p:nvSpPr>
          <p:spPr bwMode="auto">
            <a:xfrm>
              <a:off x="3030"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7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7" y="18"/>
                  </a:cubicBezTo>
                  <a:cubicBezTo>
                    <a:pt x="28" y="6"/>
                    <a:pt x="43" y="0"/>
                    <a:pt x="62" y="0"/>
                  </a:cubicBezTo>
                  <a:cubicBezTo>
                    <a:pt x="80" y="0"/>
                    <a:pt x="95"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4"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5" name="Freeform 47"/>
            <p:cNvSpPr>
              <a:spLocks/>
            </p:cNvSpPr>
            <p:nvPr userDrawn="1"/>
          </p:nvSpPr>
          <p:spPr bwMode="auto">
            <a:xfrm>
              <a:off x="3349" y="4170"/>
              <a:ext cx="78" cy="140"/>
            </a:xfrm>
            <a:custGeom>
              <a:avLst/>
              <a:gdLst>
                <a:gd name="T0" fmla="*/ 78 w 78"/>
                <a:gd name="T1" fmla="*/ 0 h 140"/>
                <a:gd name="T2" fmla="*/ 33 w 78"/>
                <a:gd name="T3" fmla="*/ 140 h 140"/>
                <a:gd name="T4" fmla="*/ 0 w 78"/>
                <a:gd name="T5" fmla="*/ 140 h 140"/>
                <a:gd name="T6" fmla="*/ 33 w 78"/>
                <a:gd name="T7" fmla="*/ 0 h 140"/>
                <a:gd name="T8" fmla="*/ 78 w 78"/>
                <a:gd name="T9" fmla="*/ 0 h 140"/>
              </a:gdLst>
              <a:ahLst/>
              <a:cxnLst>
                <a:cxn ang="0">
                  <a:pos x="T0" y="T1"/>
                </a:cxn>
                <a:cxn ang="0">
                  <a:pos x="T2" y="T3"/>
                </a:cxn>
                <a:cxn ang="0">
                  <a:pos x="T4" y="T5"/>
                </a:cxn>
                <a:cxn ang="0">
                  <a:pos x="T6" y="T7"/>
                </a:cxn>
                <a:cxn ang="0">
                  <a:pos x="T8" y="T9"/>
                </a:cxn>
              </a:cxnLst>
              <a:rect l="0" t="0" r="r" b="b"/>
              <a:pathLst>
                <a:path w="78" h="140">
                  <a:moveTo>
                    <a:pt x="78" y="0"/>
                  </a:moveTo>
                  <a:lnTo>
                    <a:pt x="33" y="140"/>
                  </a:lnTo>
                  <a:lnTo>
                    <a:pt x="0" y="140"/>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6" name="Freeform 48"/>
            <p:cNvSpPr>
              <a:spLocks/>
            </p:cNvSpPr>
            <p:nvPr userDrawn="1"/>
          </p:nvSpPr>
          <p:spPr bwMode="auto">
            <a:xfrm>
              <a:off x="3626" y="3823"/>
              <a:ext cx="300" cy="418"/>
            </a:xfrm>
            <a:custGeom>
              <a:avLst/>
              <a:gdLst>
                <a:gd name="T0" fmla="*/ 127 w 127"/>
                <a:gd name="T1" fmla="*/ 167 h 177"/>
                <a:gd name="T2" fmla="*/ 80 w 127"/>
                <a:gd name="T3" fmla="*/ 177 h 177"/>
                <a:gd name="T4" fmla="*/ 38 w 127"/>
                <a:gd name="T5" fmla="*/ 166 h 177"/>
                <a:gd name="T6" fmla="*/ 10 w 127"/>
                <a:gd name="T7" fmla="*/ 136 h 177"/>
                <a:gd name="T8" fmla="*/ 0 w 127"/>
                <a:gd name="T9" fmla="*/ 92 h 177"/>
                <a:gd name="T10" fmla="*/ 11 w 127"/>
                <a:gd name="T11" fmla="*/ 45 h 177"/>
                <a:gd name="T12" fmla="*/ 42 w 127"/>
                <a:gd name="T13" fmla="*/ 12 h 177"/>
                <a:gd name="T14" fmla="*/ 87 w 127"/>
                <a:gd name="T15" fmla="*/ 0 h 177"/>
                <a:gd name="T16" fmla="*/ 127 w 127"/>
                <a:gd name="T17" fmla="*/ 7 h 177"/>
                <a:gd name="T18" fmla="*/ 127 w 127"/>
                <a:gd name="T19" fmla="*/ 29 h 177"/>
                <a:gd name="T20" fmla="*/ 87 w 127"/>
                <a:gd name="T21" fmla="*/ 18 h 177"/>
                <a:gd name="T22" fmla="*/ 52 w 127"/>
                <a:gd name="T23" fmla="*/ 27 h 177"/>
                <a:gd name="T24" fmla="*/ 29 w 127"/>
                <a:gd name="T25" fmla="*/ 53 h 177"/>
                <a:gd name="T26" fmla="*/ 21 w 127"/>
                <a:gd name="T27" fmla="*/ 91 h 177"/>
                <a:gd name="T28" fmla="*/ 28 w 127"/>
                <a:gd name="T29" fmla="*/ 127 h 177"/>
                <a:gd name="T30" fmla="*/ 50 w 127"/>
                <a:gd name="T31" fmla="*/ 151 h 177"/>
                <a:gd name="T32" fmla="*/ 83 w 127"/>
                <a:gd name="T33" fmla="*/ 159 h 177"/>
                <a:gd name="T34" fmla="*/ 127 w 127"/>
                <a:gd name="T35" fmla="*/ 148 h 177"/>
                <a:gd name="T36" fmla="*/ 127 w 127"/>
                <a:gd name="T37" fmla="*/ 16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177">
                  <a:moveTo>
                    <a:pt x="127" y="167"/>
                  </a:moveTo>
                  <a:cubicBezTo>
                    <a:pt x="115" y="174"/>
                    <a:pt x="99" y="177"/>
                    <a:pt x="80" y="177"/>
                  </a:cubicBezTo>
                  <a:cubicBezTo>
                    <a:pt x="64" y="177"/>
                    <a:pt x="50" y="174"/>
                    <a:pt x="38" y="166"/>
                  </a:cubicBezTo>
                  <a:cubicBezTo>
                    <a:pt x="26" y="159"/>
                    <a:pt x="16" y="149"/>
                    <a:pt x="10" y="136"/>
                  </a:cubicBezTo>
                  <a:cubicBezTo>
                    <a:pt x="3" y="123"/>
                    <a:pt x="0" y="109"/>
                    <a:pt x="0" y="92"/>
                  </a:cubicBezTo>
                  <a:cubicBezTo>
                    <a:pt x="0" y="74"/>
                    <a:pt x="3" y="59"/>
                    <a:pt x="11" y="45"/>
                  </a:cubicBezTo>
                  <a:cubicBezTo>
                    <a:pt x="18" y="31"/>
                    <a:pt x="29" y="20"/>
                    <a:pt x="42" y="12"/>
                  </a:cubicBezTo>
                  <a:cubicBezTo>
                    <a:pt x="55" y="4"/>
                    <a:pt x="70" y="0"/>
                    <a:pt x="87" y="0"/>
                  </a:cubicBezTo>
                  <a:cubicBezTo>
                    <a:pt x="103" y="0"/>
                    <a:pt x="116" y="3"/>
                    <a:pt x="127" y="7"/>
                  </a:cubicBezTo>
                  <a:cubicBezTo>
                    <a:pt x="127" y="29"/>
                    <a:pt x="127" y="29"/>
                    <a:pt x="127" y="29"/>
                  </a:cubicBezTo>
                  <a:cubicBezTo>
                    <a:pt x="115" y="22"/>
                    <a:pt x="101" y="18"/>
                    <a:pt x="87" y="18"/>
                  </a:cubicBezTo>
                  <a:cubicBezTo>
                    <a:pt x="74" y="18"/>
                    <a:pt x="62" y="21"/>
                    <a:pt x="52" y="27"/>
                  </a:cubicBezTo>
                  <a:cubicBezTo>
                    <a:pt x="42" y="33"/>
                    <a:pt x="34" y="42"/>
                    <a:pt x="29" y="53"/>
                  </a:cubicBezTo>
                  <a:cubicBezTo>
                    <a:pt x="23" y="64"/>
                    <a:pt x="21" y="76"/>
                    <a:pt x="21" y="91"/>
                  </a:cubicBezTo>
                  <a:cubicBezTo>
                    <a:pt x="21" y="104"/>
                    <a:pt x="23" y="116"/>
                    <a:pt x="28" y="127"/>
                  </a:cubicBezTo>
                  <a:cubicBezTo>
                    <a:pt x="34" y="137"/>
                    <a:pt x="41" y="145"/>
                    <a:pt x="50" y="151"/>
                  </a:cubicBezTo>
                  <a:cubicBezTo>
                    <a:pt x="60" y="156"/>
                    <a:pt x="71" y="159"/>
                    <a:pt x="83" y="159"/>
                  </a:cubicBezTo>
                  <a:cubicBezTo>
                    <a:pt x="100" y="159"/>
                    <a:pt x="115" y="155"/>
                    <a:pt x="127" y="148"/>
                  </a:cubicBezTo>
                  <a:lnTo>
                    <a:pt x="127"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7" name="Freeform 49"/>
            <p:cNvSpPr>
              <a:spLocks noEditPoints="1"/>
            </p:cNvSpPr>
            <p:nvPr userDrawn="1"/>
          </p:nvSpPr>
          <p:spPr bwMode="auto">
            <a:xfrm>
              <a:off x="3979"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1 w 97"/>
                <a:gd name="T15" fmla="*/ 53 h 128"/>
                <a:gd name="T16" fmla="*/ 77 w 97"/>
                <a:gd name="T17" fmla="*/ 48 h 128"/>
                <a:gd name="T18" fmla="*/ 52 w 97"/>
                <a:gd name="T19" fmla="*/ 17 h 128"/>
                <a:gd name="T20" fmla="*/ 12 w 97"/>
                <a:gd name="T21" fmla="*/ 32 h 128"/>
                <a:gd name="T22" fmla="*/ 12 w 97"/>
                <a:gd name="T23" fmla="*/ 12 h 128"/>
                <a:gd name="T24" fmla="*/ 31 w 97"/>
                <a:gd name="T25" fmla="*/ 4 h 128"/>
                <a:gd name="T26" fmla="*/ 54 w 97"/>
                <a:gd name="T27" fmla="*/ 0 h 128"/>
                <a:gd name="T28" fmla="*/ 97 w 97"/>
                <a:gd name="T29" fmla="*/ 46 h 128"/>
                <a:gd name="T30" fmla="*/ 97 w 97"/>
                <a:gd name="T31" fmla="*/ 125 h 128"/>
                <a:gd name="T32" fmla="*/ 77 w 97"/>
                <a:gd name="T33" fmla="*/ 63 h 128"/>
                <a:gd name="T34" fmla="*/ 48 w 97"/>
                <a:gd name="T35" fmla="*/ 68 h 128"/>
                <a:gd name="T36" fmla="*/ 27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8" y="128"/>
                    <a:pt x="18" y="125"/>
                    <a:pt x="11" y="118"/>
                  </a:cubicBezTo>
                  <a:cubicBezTo>
                    <a:pt x="4" y="112"/>
                    <a:pt x="0" y="103"/>
                    <a:pt x="0" y="93"/>
                  </a:cubicBezTo>
                  <a:cubicBezTo>
                    <a:pt x="0" y="70"/>
                    <a:pt x="14" y="57"/>
                    <a:pt x="41" y="53"/>
                  </a:cubicBezTo>
                  <a:cubicBezTo>
                    <a:pt x="77" y="48"/>
                    <a:pt x="77" y="48"/>
                    <a:pt x="77" y="48"/>
                  </a:cubicBezTo>
                  <a:cubicBezTo>
                    <a:pt x="77" y="27"/>
                    <a:pt x="69" y="17"/>
                    <a:pt x="52" y="17"/>
                  </a:cubicBezTo>
                  <a:cubicBezTo>
                    <a:pt x="38" y="17"/>
                    <a:pt x="24" y="22"/>
                    <a:pt x="12" y="32"/>
                  </a:cubicBezTo>
                  <a:cubicBezTo>
                    <a:pt x="12" y="12"/>
                    <a:pt x="12" y="12"/>
                    <a:pt x="12" y="12"/>
                  </a:cubicBezTo>
                  <a:cubicBezTo>
                    <a:pt x="16" y="9"/>
                    <a:pt x="22" y="6"/>
                    <a:pt x="31" y="4"/>
                  </a:cubicBezTo>
                  <a:cubicBezTo>
                    <a:pt x="39" y="1"/>
                    <a:pt x="47" y="0"/>
                    <a:pt x="54" y="0"/>
                  </a:cubicBezTo>
                  <a:cubicBezTo>
                    <a:pt x="83" y="0"/>
                    <a:pt x="97" y="15"/>
                    <a:pt x="97" y="46"/>
                  </a:cubicBezTo>
                  <a:lnTo>
                    <a:pt x="97" y="125"/>
                  </a:lnTo>
                  <a:close/>
                  <a:moveTo>
                    <a:pt x="77" y="63"/>
                  </a:moveTo>
                  <a:cubicBezTo>
                    <a:pt x="48" y="68"/>
                    <a:pt x="48" y="68"/>
                    <a:pt x="48" y="68"/>
                  </a:cubicBezTo>
                  <a:cubicBezTo>
                    <a:pt x="38" y="69"/>
                    <a:pt x="31" y="71"/>
                    <a:pt x="27" y="75"/>
                  </a:cubicBezTo>
                  <a:cubicBezTo>
                    <a:pt x="23" y="78"/>
                    <a:pt x="20" y="84"/>
                    <a:pt x="20" y="91"/>
                  </a:cubicBezTo>
                  <a:cubicBezTo>
                    <a:pt x="20" y="97"/>
                    <a:pt x="23" y="102"/>
                    <a:pt x="27" y="106"/>
                  </a:cubicBezTo>
                  <a:cubicBezTo>
                    <a:pt x="31" y="110"/>
                    <a:pt x="37" y="111"/>
                    <a:pt x="44" y="111"/>
                  </a:cubicBezTo>
                  <a:cubicBezTo>
                    <a:pt x="54" y="111"/>
                    <a:pt x="62"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8" name="Freeform 50"/>
            <p:cNvSpPr>
              <a:spLocks/>
            </p:cNvSpPr>
            <p:nvPr userDrawn="1"/>
          </p:nvSpPr>
          <p:spPr bwMode="auto">
            <a:xfrm>
              <a:off x="4296" y="3939"/>
              <a:ext cx="238" cy="295"/>
            </a:xfrm>
            <a:custGeom>
              <a:avLst/>
              <a:gdLst>
                <a:gd name="T0" fmla="*/ 101 w 101"/>
                <a:gd name="T1" fmla="*/ 125 h 125"/>
                <a:gd name="T2" fmla="*/ 82 w 101"/>
                <a:gd name="T3" fmla="*/ 125 h 125"/>
                <a:gd name="T4" fmla="*/ 82 w 101"/>
                <a:gd name="T5" fmla="*/ 55 h 125"/>
                <a:gd name="T6" fmla="*/ 53 w 101"/>
                <a:gd name="T7" fmla="*/ 17 h 125"/>
                <a:gd name="T8" fmla="*/ 29 w 101"/>
                <a:gd name="T9" fmla="*/ 28 h 125"/>
                <a:gd name="T10" fmla="*/ 19 w 101"/>
                <a:gd name="T11" fmla="*/ 55 h 125"/>
                <a:gd name="T12" fmla="*/ 19 w 101"/>
                <a:gd name="T13" fmla="*/ 125 h 125"/>
                <a:gd name="T14" fmla="*/ 0 w 101"/>
                <a:gd name="T15" fmla="*/ 125 h 125"/>
                <a:gd name="T16" fmla="*/ 0 w 101"/>
                <a:gd name="T17" fmla="*/ 3 h 125"/>
                <a:gd name="T18" fmla="*/ 19 w 101"/>
                <a:gd name="T19" fmla="*/ 3 h 125"/>
                <a:gd name="T20" fmla="*/ 19 w 101"/>
                <a:gd name="T21" fmla="*/ 23 h 125"/>
                <a:gd name="T22" fmla="*/ 20 w 101"/>
                <a:gd name="T23" fmla="*/ 23 h 125"/>
                <a:gd name="T24" fmla="*/ 60 w 101"/>
                <a:gd name="T25" fmla="*/ 0 h 125"/>
                <a:gd name="T26" fmla="*/ 91 w 101"/>
                <a:gd name="T27" fmla="*/ 13 h 125"/>
                <a:gd name="T28" fmla="*/ 101 w 101"/>
                <a:gd name="T29" fmla="*/ 50 h 125"/>
                <a:gd name="T30" fmla="*/ 101 w 101"/>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 h="125">
                  <a:moveTo>
                    <a:pt x="101" y="125"/>
                  </a:moveTo>
                  <a:cubicBezTo>
                    <a:pt x="82" y="125"/>
                    <a:pt x="82" y="125"/>
                    <a:pt x="82" y="125"/>
                  </a:cubicBezTo>
                  <a:cubicBezTo>
                    <a:pt x="82" y="55"/>
                    <a:pt x="82" y="55"/>
                    <a:pt x="82" y="55"/>
                  </a:cubicBezTo>
                  <a:cubicBezTo>
                    <a:pt x="82" y="30"/>
                    <a:pt x="72" y="17"/>
                    <a:pt x="53" y="17"/>
                  </a:cubicBezTo>
                  <a:cubicBezTo>
                    <a:pt x="44" y="17"/>
                    <a:pt x="36" y="20"/>
                    <a:pt x="29" y="28"/>
                  </a:cubicBezTo>
                  <a:cubicBezTo>
                    <a:pt x="23" y="35"/>
                    <a:pt x="19" y="44"/>
                    <a:pt x="19" y="55"/>
                  </a:cubicBezTo>
                  <a:cubicBezTo>
                    <a:pt x="19" y="125"/>
                    <a:pt x="19" y="125"/>
                    <a:pt x="19" y="125"/>
                  </a:cubicBezTo>
                  <a:cubicBezTo>
                    <a:pt x="0" y="125"/>
                    <a:pt x="0" y="125"/>
                    <a:pt x="0" y="125"/>
                  </a:cubicBezTo>
                  <a:cubicBezTo>
                    <a:pt x="0" y="3"/>
                    <a:pt x="0" y="3"/>
                    <a:pt x="0" y="3"/>
                  </a:cubicBezTo>
                  <a:cubicBezTo>
                    <a:pt x="19" y="3"/>
                    <a:pt x="19" y="3"/>
                    <a:pt x="19" y="3"/>
                  </a:cubicBezTo>
                  <a:cubicBezTo>
                    <a:pt x="19" y="23"/>
                    <a:pt x="19" y="23"/>
                    <a:pt x="19" y="23"/>
                  </a:cubicBezTo>
                  <a:cubicBezTo>
                    <a:pt x="20" y="23"/>
                    <a:pt x="20" y="23"/>
                    <a:pt x="20" y="23"/>
                  </a:cubicBezTo>
                  <a:cubicBezTo>
                    <a:pt x="29" y="8"/>
                    <a:pt x="42" y="0"/>
                    <a:pt x="60" y="0"/>
                  </a:cubicBezTo>
                  <a:cubicBezTo>
                    <a:pt x="73" y="0"/>
                    <a:pt x="84" y="4"/>
                    <a:pt x="91" y="13"/>
                  </a:cubicBezTo>
                  <a:cubicBezTo>
                    <a:pt x="98" y="22"/>
                    <a:pt x="101" y="34"/>
                    <a:pt x="101" y="50"/>
                  </a:cubicBezTo>
                  <a:lnTo>
                    <a:pt x="101"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59" name="Freeform 51"/>
            <p:cNvSpPr>
              <a:spLocks noEditPoints="1"/>
            </p:cNvSpPr>
            <p:nvPr userDrawn="1"/>
          </p:nvSpPr>
          <p:spPr bwMode="auto">
            <a:xfrm>
              <a:off x="4598" y="3939"/>
              <a:ext cx="227" cy="302"/>
            </a:xfrm>
            <a:custGeom>
              <a:avLst/>
              <a:gdLst>
                <a:gd name="T0" fmla="*/ 96 w 96"/>
                <a:gd name="T1" fmla="*/ 125 h 128"/>
                <a:gd name="T2" fmla="*/ 77 w 96"/>
                <a:gd name="T3" fmla="*/ 125 h 128"/>
                <a:gd name="T4" fmla="*/ 77 w 96"/>
                <a:gd name="T5" fmla="*/ 106 h 128"/>
                <a:gd name="T6" fmla="*/ 76 w 96"/>
                <a:gd name="T7" fmla="*/ 106 h 128"/>
                <a:gd name="T8" fmla="*/ 39 w 96"/>
                <a:gd name="T9" fmla="*/ 128 h 128"/>
                <a:gd name="T10" fmla="*/ 11 w 96"/>
                <a:gd name="T11" fmla="*/ 118 h 128"/>
                <a:gd name="T12" fmla="*/ 0 w 96"/>
                <a:gd name="T13" fmla="*/ 93 h 128"/>
                <a:gd name="T14" fmla="*/ 40 w 96"/>
                <a:gd name="T15" fmla="*/ 53 h 128"/>
                <a:gd name="T16" fmla="*/ 77 w 96"/>
                <a:gd name="T17" fmla="*/ 48 h 128"/>
                <a:gd name="T18" fmla="*/ 52 w 96"/>
                <a:gd name="T19" fmla="*/ 17 h 128"/>
                <a:gd name="T20" fmla="*/ 12 w 96"/>
                <a:gd name="T21" fmla="*/ 32 h 128"/>
                <a:gd name="T22" fmla="*/ 12 w 96"/>
                <a:gd name="T23" fmla="*/ 12 h 128"/>
                <a:gd name="T24" fmla="*/ 30 w 96"/>
                <a:gd name="T25" fmla="*/ 4 h 128"/>
                <a:gd name="T26" fmla="*/ 53 w 96"/>
                <a:gd name="T27" fmla="*/ 0 h 128"/>
                <a:gd name="T28" fmla="*/ 96 w 96"/>
                <a:gd name="T29" fmla="*/ 46 h 128"/>
                <a:gd name="T30" fmla="*/ 96 w 96"/>
                <a:gd name="T31" fmla="*/ 125 h 128"/>
                <a:gd name="T32" fmla="*/ 77 w 96"/>
                <a:gd name="T33" fmla="*/ 63 h 128"/>
                <a:gd name="T34" fmla="*/ 47 w 96"/>
                <a:gd name="T35" fmla="*/ 68 h 128"/>
                <a:gd name="T36" fmla="*/ 26 w 96"/>
                <a:gd name="T37" fmla="*/ 75 h 128"/>
                <a:gd name="T38" fmla="*/ 20 w 96"/>
                <a:gd name="T39" fmla="*/ 91 h 128"/>
                <a:gd name="T40" fmla="*/ 27 w 96"/>
                <a:gd name="T41" fmla="*/ 106 h 128"/>
                <a:gd name="T42" fmla="*/ 43 w 96"/>
                <a:gd name="T43" fmla="*/ 111 h 128"/>
                <a:gd name="T44" fmla="*/ 67 w 96"/>
                <a:gd name="T45" fmla="*/ 101 h 128"/>
                <a:gd name="T46" fmla="*/ 77 w 96"/>
                <a:gd name="T47" fmla="*/ 76 h 128"/>
                <a:gd name="T48" fmla="*/ 77 w 96"/>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128">
                  <a:moveTo>
                    <a:pt x="96" y="125"/>
                  </a:moveTo>
                  <a:cubicBezTo>
                    <a:pt x="77" y="125"/>
                    <a:pt x="77" y="125"/>
                    <a:pt x="77" y="125"/>
                  </a:cubicBezTo>
                  <a:cubicBezTo>
                    <a:pt x="77" y="106"/>
                    <a:pt x="77" y="106"/>
                    <a:pt x="77" y="106"/>
                  </a:cubicBezTo>
                  <a:cubicBezTo>
                    <a:pt x="76" y="106"/>
                    <a:pt x="76" y="106"/>
                    <a:pt x="76" y="106"/>
                  </a:cubicBezTo>
                  <a:cubicBezTo>
                    <a:pt x="68" y="121"/>
                    <a:pt x="55" y="128"/>
                    <a:pt x="39" y="128"/>
                  </a:cubicBezTo>
                  <a:cubicBezTo>
                    <a:pt x="27" y="128"/>
                    <a:pt x="18" y="125"/>
                    <a:pt x="11" y="118"/>
                  </a:cubicBezTo>
                  <a:cubicBezTo>
                    <a:pt x="3" y="112"/>
                    <a:pt x="0" y="103"/>
                    <a:pt x="0" y="93"/>
                  </a:cubicBezTo>
                  <a:cubicBezTo>
                    <a:pt x="0" y="70"/>
                    <a:pt x="13" y="57"/>
                    <a:pt x="40" y="53"/>
                  </a:cubicBezTo>
                  <a:cubicBezTo>
                    <a:pt x="77" y="48"/>
                    <a:pt x="77" y="48"/>
                    <a:pt x="77" y="48"/>
                  </a:cubicBezTo>
                  <a:cubicBezTo>
                    <a:pt x="77" y="27"/>
                    <a:pt x="68" y="17"/>
                    <a:pt x="52" y="17"/>
                  </a:cubicBezTo>
                  <a:cubicBezTo>
                    <a:pt x="37" y="17"/>
                    <a:pt x="24" y="22"/>
                    <a:pt x="12" y="32"/>
                  </a:cubicBezTo>
                  <a:cubicBezTo>
                    <a:pt x="12" y="12"/>
                    <a:pt x="12" y="12"/>
                    <a:pt x="12" y="12"/>
                  </a:cubicBezTo>
                  <a:cubicBezTo>
                    <a:pt x="15" y="9"/>
                    <a:pt x="22" y="6"/>
                    <a:pt x="30" y="4"/>
                  </a:cubicBezTo>
                  <a:cubicBezTo>
                    <a:pt x="39" y="1"/>
                    <a:pt x="47" y="0"/>
                    <a:pt x="53" y="0"/>
                  </a:cubicBezTo>
                  <a:cubicBezTo>
                    <a:pt x="82" y="0"/>
                    <a:pt x="96" y="15"/>
                    <a:pt x="96" y="46"/>
                  </a:cubicBezTo>
                  <a:lnTo>
                    <a:pt x="96"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3" y="111"/>
                  </a:cubicBezTo>
                  <a:cubicBezTo>
                    <a:pt x="53" y="111"/>
                    <a:pt x="61" y="108"/>
                    <a:pt x="67"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0" name="Freeform 52"/>
            <p:cNvSpPr>
              <a:spLocks noEditPoints="1"/>
            </p:cNvSpPr>
            <p:nvPr userDrawn="1"/>
          </p:nvSpPr>
          <p:spPr bwMode="auto">
            <a:xfrm>
              <a:off x="4892" y="3806"/>
              <a:ext cx="267" cy="435"/>
            </a:xfrm>
            <a:custGeom>
              <a:avLst/>
              <a:gdLst>
                <a:gd name="T0" fmla="*/ 113 w 113"/>
                <a:gd name="T1" fmla="*/ 181 h 184"/>
                <a:gd name="T2" fmla="*/ 93 w 113"/>
                <a:gd name="T3" fmla="*/ 181 h 184"/>
                <a:gd name="T4" fmla="*/ 93 w 113"/>
                <a:gd name="T5" fmla="*/ 160 h 184"/>
                <a:gd name="T6" fmla="*/ 92 w 113"/>
                <a:gd name="T7" fmla="*/ 160 h 184"/>
                <a:gd name="T8" fmla="*/ 51 w 113"/>
                <a:gd name="T9" fmla="*/ 184 h 184"/>
                <a:gd name="T10" fmla="*/ 14 w 113"/>
                <a:gd name="T11" fmla="*/ 167 h 184"/>
                <a:gd name="T12" fmla="*/ 0 w 113"/>
                <a:gd name="T13" fmla="*/ 123 h 184"/>
                <a:gd name="T14" fmla="*/ 15 w 113"/>
                <a:gd name="T15" fmla="*/ 74 h 184"/>
                <a:gd name="T16" fmla="*/ 56 w 113"/>
                <a:gd name="T17" fmla="*/ 56 h 184"/>
                <a:gd name="T18" fmla="*/ 92 w 113"/>
                <a:gd name="T19" fmla="*/ 76 h 184"/>
                <a:gd name="T20" fmla="*/ 93 w 113"/>
                <a:gd name="T21" fmla="*/ 76 h 184"/>
                <a:gd name="T22" fmla="*/ 93 w 113"/>
                <a:gd name="T23" fmla="*/ 0 h 184"/>
                <a:gd name="T24" fmla="*/ 113 w 113"/>
                <a:gd name="T25" fmla="*/ 0 h 184"/>
                <a:gd name="T26" fmla="*/ 113 w 113"/>
                <a:gd name="T27" fmla="*/ 181 h 184"/>
                <a:gd name="T28" fmla="*/ 93 w 113"/>
                <a:gd name="T29" fmla="*/ 126 h 184"/>
                <a:gd name="T30" fmla="*/ 93 w 113"/>
                <a:gd name="T31" fmla="*/ 108 h 184"/>
                <a:gd name="T32" fmla="*/ 83 w 113"/>
                <a:gd name="T33" fmla="*/ 83 h 184"/>
                <a:gd name="T34" fmla="*/ 58 w 113"/>
                <a:gd name="T35" fmla="*/ 73 h 184"/>
                <a:gd name="T36" fmla="*/ 30 w 113"/>
                <a:gd name="T37" fmla="*/ 86 h 184"/>
                <a:gd name="T38" fmla="*/ 20 w 113"/>
                <a:gd name="T39" fmla="*/ 122 h 184"/>
                <a:gd name="T40" fmla="*/ 30 w 113"/>
                <a:gd name="T41" fmla="*/ 155 h 184"/>
                <a:gd name="T42" fmla="*/ 56 w 113"/>
                <a:gd name="T43" fmla="*/ 167 h 184"/>
                <a:gd name="T44" fmla="*/ 83 w 113"/>
                <a:gd name="T45" fmla="*/ 156 h 184"/>
                <a:gd name="T46" fmla="*/ 93 w 113"/>
                <a:gd name="T47" fmla="*/ 12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3" h="184">
                  <a:moveTo>
                    <a:pt x="113" y="181"/>
                  </a:moveTo>
                  <a:cubicBezTo>
                    <a:pt x="93" y="181"/>
                    <a:pt x="93" y="181"/>
                    <a:pt x="93" y="181"/>
                  </a:cubicBezTo>
                  <a:cubicBezTo>
                    <a:pt x="93" y="160"/>
                    <a:pt x="93" y="160"/>
                    <a:pt x="93" y="160"/>
                  </a:cubicBezTo>
                  <a:cubicBezTo>
                    <a:pt x="92" y="160"/>
                    <a:pt x="92" y="160"/>
                    <a:pt x="92" y="160"/>
                  </a:cubicBezTo>
                  <a:cubicBezTo>
                    <a:pt x="83" y="176"/>
                    <a:pt x="69" y="184"/>
                    <a:pt x="51" y="184"/>
                  </a:cubicBezTo>
                  <a:cubicBezTo>
                    <a:pt x="35" y="184"/>
                    <a:pt x="23" y="179"/>
                    <a:pt x="14" y="167"/>
                  </a:cubicBezTo>
                  <a:cubicBezTo>
                    <a:pt x="5" y="156"/>
                    <a:pt x="0" y="142"/>
                    <a:pt x="0" y="123"/>
                  </a:cubicBezTo>
                  <a:cubicBezTo>
                    <a:pt x="0" y="103"/>
                    <a:pt x="5" y="87"/>
                    <a:pt x="15" y="74"/>
                  </a:cubicBezTo>
                  <a:cubicBezTo>
                    <a:pt x="25" y="62"/>
                    <a:pt x="39" y="56"/>
                    <a:pt x="56" y="56"/>
                  </a:cubicBezTo>
                  <a:cubicBezTo>
                    <a:pt x="73" y="56"/>
                    <a:pt x="85" y="63"/>
                    <a:pt x="92" y="76"/>
                  </a:cubicBezTo>
                  <a:cubicBezTo>
                    <a:pt x="93" y="76"/>
                    <a:pt x="93" y="76"/>
                    <a:pt x="93" y="76"/>
                  </a:cubicBezTo>
                  <a:cubicBezTo>
                    <a:pt x="93" y="0"/>
                    <a:pt x="93" y="0"/>
                    <a:pt x="93" y="0"/>
                  </a:cubicBezTo>
                  <a:cubicBezTo>
                    <a:pt x="113" y="0"/>
                    <a:pt x="113" y="0"/>
                    <a:pt x="113" y="0"/>
                  </a:cubicBezTo>
                  <a:lnTo>
                    <a:pt x="113" y="181"/>
                  </a:lnTo>
                  <a:close/>
                  <a:moveTo>
                    <a:pt x="93" y="126"/>
                  </a:moveTo>
                  <a:cubicBezTo>
                    <a:pt x="93" y="108"/>
                    <a:pt x="93" y="108"/>
                    <a:pt x="93" y="108"/>
                  </a:cubicBezTo>
                  <a:cubicBezTo>
                    <a:pt x="93" y="98"/>
                    <a:pt x="90" y="89"/>
                    <a:pt x="83" y="83"/>
                  </a:cubicBezTo>
                  <a:cubicBezTo>
                    <a:pt x="76" y="76"/>
                    <a:pt x="68" y="73"/>
                    <a:pt x="58" y="73"/>
                  </a:cubicBezTo>
                  <a:cubicBezTo>
                    <a:pt x="47" y="73"/>
                    <a:pt x="37" y="77"/>
                    <a:pt x="30" y="86"/>
                  </a:cubicBezTo>
                  <a:cubicBezTo>
                    <a:pt x="23" y="94"/>
                    <a:pt x="20" y="107"/>
                    <a:pt x="20" y="122"/>
                  </a:cubicBezTo>
                  <a:cubicBezTo>
                    <a:pt x="20" y="136"/>
                    <a:pt x="23" y="147"/>
                    <a:pt x="30" y="155"/>
                  </a:cubicBezTo>
                  <a:cubicBezTo>
                    <a:pt x="36" y="163"/>
                    <a:pt x="45" y="167"/>
                    <a:pt x="56" y="167"/>
                  </a:cubicBezTo>
                  <a:cubicBezTo>
                    <a:pt x="67" y="167"/>
                    <a:pt x="76" y="164"/>
                    <a:pt x="83" y="156"/>
                  </a:cubicBezTo>
                  <a:cubicBezTo>
                    <a:pt x="90" y="148"/>
                    <a:pt x="93" y="138"/>
                    <a:pt x="93"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1" name="Freeform 53"/>
            <p:cNvSpPr>
              <a:spLocks noEditPoints="1"/>
            </p:cNvSpPr>
            <p:nvPr userDrawn="1"/>
          </p:nvSpPr>
          <p:spPr bwMode="auto">
            <a:xfrm>
              <a:off x="5228"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0 w 97"/>
                <a:gd name="T15" fmla="*/ 53 h 128"/>
                <a:gd name="T16" fmla="*/ 77 w 97"/>
                <a:gd name="T17" fmla="*/ 48 h 128"/>
                <a:gd name="T18" fmla="*/ 52 w 97"/>
                <a:gd name="T19" fmla="*/ 17 h 128"/>
                <a:gd name="T20" fmla="*/ 12 w 97"/>
                <a:gd name="T21" fmla="*/ 32 h 128"/>
                <a:gd name="T22" fmla="*/ 12 w 97"/>
                <a:gd name="T23" fmla="*/ 12 h 128"/>
                <a:gd name="T24" fmla="*/ 30 w 97"/>
                <a:gd name="T25" fmla="*/ 4 h 128"/>
                <a:gd name="T26" fmla="*/ 54 w 97"/>
                <a:gd name="T27" fmla="*/ 0 h 128"/>
                <a:gd name="T28" fmla="*/ 97 w 97"/>
                <a:gd name="T29" fmla="*/ 46 h 128"/>
                <a:gd name="T30" fmla="*/ 97 w 97"/>
                <a:gd name="T31" fmla="*/ 125 h 128"/>
                <a:gd name="T32" fmla="*/ 77 w 97"/>
                <a:gd name="T33" fmla="*/ 63 h 128"/>
                <a:gd name="T34" fmla="*/ 47 w 97"/>
                <a:gd name="T35" fmla="*/ 68 h 128"/>
                <a:gd name="T36" fmla="*/ 26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7" y="128"/>
                    <a:pt x="18" y="125"/>
                    <a:pt x="11" y="118"/>
                  </a:cubicBezTo>
                  <a:cubicBezTo>
                    <a:pt x="4" y="112"/>
                    <a:pt x="0" y="103"/>
                    <a:pt x="0" y="93"/>
                  </a:cubicBezTo>
                  <a:cubicBezTo>
                    <a:pt x="0" y="70"/>
                    <a:pt x="14" y="57"/>
                    <a:pt x="40" y="53"/>
                  </a:cubicBezTo>
                  <a:cubicBezTo>
                    <a:pt x="77" y="48"/>
                    <a:pt x="77" y="48"/>
                    <a:pt x="77" y="48"/>
                  </a:cubicBezTo>
                  <a:cubicBezTo>
                    <a:pt x="77" y="27"/>
                    <a:pt x="69" y="17"/>
                    <a:pt x="52" y="17"/>
                  </a:cubicBezTo>
                  <a:cubicBezTo>
                    <a:pt x="37" y="17"/>
                    <a:pt x="24" y="22"/>
                    <a:pt x="12" y="32"/>
                  </a:cubicBezTo>
                  <a:cubicBezTo>
                    <a:pt x="12" y="12"/>
                    <a:pt x="12" y="12"/>
                    <a:pt x="12" y="12"/>
                  </a:cubicBezTo>
                  <a:cubicBezTo>
                    <a:pt x="16" y="9"/>
                    <a:pt x="22" y="6"/>
                    <a:pt x="30" y="4"/>
                  </a:cubicBezTo>
                  <a:cubicBezTo>
                    <a:pt x="39" y="1"/>
                    <a:pt x="47" y="0"/>
                    <a:pt x="54" y="0"/>
                  </a:cubicBezTo>
                  <a:cubicBezTo>
                    <a:pt x="82" y="0"/>
                    <a:pt x="97" y="15"/>
                    <a:pt x="97" y="46"/>
                  </a:cubicBezTo>
                  <a:lnTo>
                    <a:pt x="97"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4" y="111"/>
                  </a:cubicBezTo>
                  <a:cubicBezTo>
                    <a:pt x="53" y="111"/>
                    <a:pt x="61"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2" name="Freeform 54"/>
            <p:cNvSpPr>
              <a:spLocks/>
            </p:cNvSpPr>
            <p:nvPr userDrawn="1"/>
          </p:nvSpPr>
          <p:spPr bwMode="auto">
            <a:xfrm>
              <a:off x="1386" y="4610"/>
              <a:ext cx="151" cy="412"/>
            </a:xfrm>
            <a:custGeom>
              <a:avLst/>
              <a:gdLst>
                <a:gd name="T0" fmla="*/ 64 w 64"/>
                <a:gd name="T1" fmla="*/ 110 h 174"/>
                <a:gd name="T2" fmla="*/ 51 w 64"/>
                <a:gd name="T3" fmla="*/ 157 h 174"/>
                <a:gd name="T4" fmla="*/ 16 w 64"/>
                <a:gd name="T5" fmla="*/ 174 h 174"/>
                <a:gd name="T6" fmla="*/ 0 w 64"/>
                <a:gd name="T7" fmla="*/ 171 h 174"/>
                <a:gd name="T8" fmla="*/ 0 w 64"/>
                <a:gd name="T9" fmla="*/ 151 h 174"/>
                <a:gd name="T10" fmla="*/ 17 w 64"/>
                <a:gd name="T11" fmla="*/ 156 h 174"/>
                <a:gd name="T12" fmla="*/ 44 w 64"/>
                <a:gd name="T13" fmla="*/ 110 h 174"/>
                <a:gd name="T14" fmla="*/ 44 w 64"/>
                <a:gd name="T15" fmla="*/ 0 h 174"/>
                <a:gd name="T16" fmla="*/ 64 w 64"/>
                <a:gd name="T17" fmla="*/ 0 h 174"/>
                <a:gd name="T18" fmla="*/ 64 w 64"/>
                <a:gd name="T19" fmla="*/ 11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74">
                  <a:moveTo>
                    <a:pt x="64" y="110"/>
                  </a:moveTo>
                  <a:cubicBezTo>
                    <a:pt x="64" y="129"/>
                    <a:pt x="59" y="145"/>
                    <a:pt x="51" y="157"/>
                  </a:cubicBezTo>
                  <a:cubicBezTo>
                    <a:pt x="43" y="168"/>
                    <a:pt x="31" y="174"/>
                    <a:pt x="16" y="174"/>
                  </a:cubicBezTo>
                  <a:cubicBezTo>
                    <a:pt x="10" y="174"/>
                    <a:pt x="4" y="173"/>
                    <a:pt x="0" y="171"/>
                  </a:cubicBezTo>
                  <a:cubicBezTo>
                    <a:pt x="0" y="151"/>
                    <a:pt x="0" y="151"/>
                    <a:pt x="0" y="151"/>
                  </a:cubicBezTo>
                  <a:cubicBezTo>
                    <a:pt x="4" y="154"/>
                    <a:pt x="10" y="156"/>
                    <a:pt x="17" y="156"/>
                  </a:cubicBezTo>
                  <a:cubicBezTo>
                    <a:pt x="35" y="156"/>
                    <a:pt x="44" y="140"/>
                    <a:pt x="44" y="110"/>
                  </a:cubicBezTo>
                  <a:cubicBezTo>
                    <a:pt x="44" y="0"/>
                    <a:pt x="44" y="0"/>
                    <a:pt x="44" y="0"/>
                  </a:cubicBezTo>
                  <a:cubicBezTo>
                    <a:pt x="64" y="0"/>
                    <a:pt x="64" y="0"/>
                    <a:pt x="64" y="0"/>
                  </a:cubicBezTo>
                  <a:lnTo>
                    <a:pt x="6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3" name="Freeform 55"/>
            <p:cNvSpPr>
              <a:spLocks/>
            </p:cNvSpPr>
            <p:nvPr userDrawn="1"/>
          </p:nvSpPr>
          <p:spPr bwMode="auto">
            <a:xfrm>
              <a:off x="1627" y="4726"/>
              <a:ext cx="239" cy="296"/>
            </a:xfrm>
            <a:custGeom>
              <a:avLst/>
              <a:gdLst>
                <a:gd name="T0" fmla="*/ 101 w 101"/>
                <a:gd name="T1" fmla="*/ 122 h 125"/>
                <a:gd name="T2" fmla="*/ 82 w 101"/>
                <a:gd name="T3" fmla="*/ 122 h 125"/>
                <a:gd name="T4" fmla="*/ 82 w 101"/>
                <a:gd name="T5" fmla="*/ 103 h 125"/>
                <a:gd name="T6" fmla="*/ 81 w 101"/>
                <a:gd name="T7" fmla="*/ 103 h 125"/>
                <a:gd name="T8" fmla="*/ 43 w 101"/>
                <a:gd name="T9" fmla="*/ 125 h 125"/>
                <a:gd name="T10" fmla="*/ 0 w 101"/>
                <a:gd name="T11" fmla="*/ 73 h 125"/>
                <a:gd name="T12" fmla="*/ 0 w 101"/>
                <a:gd name="T13" fmla="*/ 0 h 125"/>
                <a:gd name="T14" fmla="*/ 19 w 101"/>
                <a:gd name="T15" fmla="*/ 0 h 125"/>
                <a:gd name="T16" fmla="*/ 19 w 101"/>
                <a:gd name="T17" fmla="*/ 70 h 125"/>
                <a:gd name="T18" fmla="*/ 49 w 101"/>
                <a:gd name="T19" fmla="*/ 108 h 125"/>
                <a:gd name="T20" fmla="*/ 72 w 101"/>
                <a:gd name="T21" fmla="*/ 98 h 125"/>
                <a:gd name="T22" fmla="*/ 82 w 101"/>
                <a:gd name="T23" fmla="*/ 70 h 125"/>
                <a:gd name="T24" fmla="*/ 82 w 101"/>
                <a:gd name="T25" fmla="*/ 0 h 125"/>
                <a:gd name="T26" fmla="*/ 101 w 101"/>
                <a:gd name="T27" fmla="*/ 0 h 125"/>
                <a:gd name="T28" fmla="*/ 101 w 101"/>
                <a:gd name="T29" fmla="*/ 1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 h="125">
                  <a:moveTo>
                    <a:pt x="101" y="122"/>
                  </a:moveTo>
                  <a:cubicBezTo>
                    <a:pt x="82" y="122"/>
                    <a:pt x="82" y="122"/>
                    <a:pt x="82" y="122"/>
                  </a:cubicBezTo>
                  <a:cubicBezTo>
                    <a:pt x="82" y="103"/>
                    <a:pt x="82" y="103"/>
                    <a:pt x="82" y="103"/>
                  </a:cubicBezTo>
                  <a:cubicBezTo>
                    <a:pt x="81" y="103"/>
                    <a:pt x="81" y="103"/>
                    <a:pt x="81" y="103"/>
                  </a:cubicBezTo>
                  <a:cubicBezTo>
                    <a:pt x="73" y="117"/>
                    <a:pt x="60" y="125"/>
                    <a:pt x="43" y="125"/>
                  </a:cubicBezTo>
                  <a:cubicBezTo>
                    <a:pt x="14" y="125"/>
                    <a:pt x="0" y="108"/>
                    <a:pt x="0" y="73"/>
                  </a:cubicBezTo>
                  <a:cubicBezTo>
                    <a:pt x="0" y="0"/>
                    <a:pt x="0" y="0"/>
                    <a:pt x="0" y="0"/>
                  </a:cubicBezTo>
                  <a:cubicBezTo>
                    <a:pt x="19" y="0"/>
                    <a:pt x="19" y="0"/>
                    <a:pt x="19" y="0"/>
                  </a:cubicBezTo>
                  <a:cubicBezTo>
                    <a:pt x="19" y="70"/>
                    <a:pt x="19" y="70"/>
                    <a:pt x="19" y="70"/>
                  </a:cubicBezTo>
                  <a:cubicBezTo>
                    <a:pt x="19" y="95"/>
                    <a:pt x="29" y="108"/>
                    <a:pt x="49" y="108"/>
                  </a:cubicBezTo>
                  <a:cubicBezTo>
                    <a:pt x="59" y="108"/>
                    <a:pt x="66" y="105"/>
                    <a:pt x="72" y="98"/>
                  </a:cubicBezTo>
                  <a:cubicBezTo>
                    <a:pt x="78" y="91"/>
                    <a:pt x="82" y="81"/>
                    <a:pt x="82" y="70"/>
                  </a:cubicBezTo>
                  <a:cubicBezTo>
                    <a:pt x="82" y="0"/>
                    <a:pt x="82" y="0"/>
                    <a:pt x="82" y="0"/>
                  </a:cubicBezTo>
                  <a:cubicBezTo>
                    <a:pt x="101" y="0"/>
                    <a:pt x="101" y="0"/>
                    <a:pt x="101" y="0"/>
                  </a:cubicBezTo>
                  <a:lnTo>
                    <a:pt x="101"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4" name="Rectangle 56"/>
            <p:cNvSpPr>
              <a:spLocks noChangeArrowheads="1"/>
            </p:cNvSpPr>
            <p:nvPr userDrawn="1"/>
          </p:nvSpPr>
          <p:spPr bwMode="auto">
            <a:xfrm>
              <a:off x="1961" y="4587"/>
              <a:ext cx="45" cy="4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5" name="Freeform 57"/>
            <p:cNvSpPr>
              <a:spLocks/>
            </p:cNvSpPr>
            <p:nvPr userDrawn="1"/>
          </p:nvSpPr>
          <p:spPr bwMode="auto">
            <a:xfrm>
              <a:off x="2058" y="4726"/>
              <a:ext cx="272" cy="423"/>
            </a:xfrm>
            <a:custGeom>
              <a:avLst/>
              <a:gdLst>
                <a:gd name="T0" fmla="*/ 115 w 115"/>
                <a:gd name="T1" fmla="*/ 0 h 179"/>
                <a:gd name="T2" fmla="*/ 59 w 115"/>
                <a:gd name="T3" fmla="*/ 141 h 179"/>
                <a:gd name="T4" fmla="*/ 17 w 115"/>
                <a:gd name="T5" fmla="*/ 179 h 179"/>
                <a:gd name="T6" fmla="*/ 4 w 115"/>
                <a:gd name="T7" fmla="*/ 178 h 179"/>
                <a:gd name="T8" fmla="*/ 4 w 115"/>
                <a:gd name="T9" fmla="*/ 160 h 179"/>
                <a:gd name="T10" fmla="*/ 15 w 115"/>
                <a:gd name="T11" fmla="*/ 162 h 179"/>
                <a:gd name="T12" fmla="*/ 38 w 115"/>
                <a:gd name="T13" fmla="*/ 145 h 179"/>
                <a:gd name="T14" fmla="*/ 47 w 115"/>
                <a:gd name="T15" fmla="*/ 122 h 179"/>
                <a:gd name="T16" fmla="*/ 0 w 115"/>
                <a:gd name="T17" fmla="*/ 0 h 179"/>
                <a:gd name="T18" fmla="*/ 21 w 115"/>
                <a:gd name="T19" fmla="*/ 0 h 179"/>
                <a:gd name="T20" fmla="*/ 54 w 115"/>
                <a:gd name="T21" fmla="*/ 94 h 179"/>
                <a:gd name="T22" fmla="*/ 57 w 115"/>
                <a:gd name="T23" fmla="*/ 103 h 179"/>
                <a:gd name="T24" fmla="*/ 58 w 115"/>
                <a:gd name="T25" fmla="*/ 103 h 179"/>
                <a:gd name="T26" fmla="*/ 60 w 115"/>
                <a:gd name="T27" fmla="*/ 94 h 179"/>
                <a:gd name="T28" fmla="*/ 95 w 115"/>
                <a:gd name="T29" fmla="*/ 0 h 179"/>
                <a:gd name="T30" fmla="*/ 115 w 115"/>
                <a:gd name="T31"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79">
                  <a:moveTo>
                    <a:pt x="115" y="0"/>
                  </a:moveTo>
                  <a:cubicBezTo>
                    <a:pt x="59" y="141"/>
                    <a:pt x="59" y="141"/>
                    <a:pt x="59" y="141"/>
                  </a:cubicBezTo>
                  <a:cubicBezTo>
                    <a:pt x="49" y="167"/>
                    <a:pt x="35" y="179"/>
                    <a:pt x="17" y="179"/>
                  </a:cubicBezTo>
                  <a:cubicBezTo>
                    <a:pt x="11" y="179"/>
                    <a:pt x="7" y="179"/>
                    <a:pt x="4" y="178"/>
                  </a:cubicBezTo>
                  <a:cubicBezTo>
                    <a:pt x="4" y="160"/>
                    <a:pt x="4" y="160"/>
                    <a:pt x="4" y="160"/>
                  </a:cubicBezTo>
                  <a:cubicBezTo>
                    <a:pt x="8" y="162"/>
                    <a:pt x="12" y="162"/>
                    <a:pt x="15" y="162"/>
                  </a:cubicBezTo>
                  <a:cubicBezTo>
                    <a:pt x="25" y="162"/>
                    <a:pt x="33" y="157"/>
                    <a:pt x="38" y="145"/>
                  </a:cubicBezTo>
                  <a:cubicBezTo>
                    <a:pt x="47" y="122"/>
                    <a:pt x="47" y="122"/>
                    <a:pt x="47" y="122"/>
                  </a:cubicBezTo>
                  <a:cubicBezTo>
                    <a:pt x="0" y="0"/>
                    <a:pt x="0" y="0"/>
                    <a:pt x="0" y="0"/>
                  </a:cubicBezTo>
                  <a:cubicBezTo>
                    <a:pt x="21" y="0"/>
                    <a:pt x="21" y="0"/>
                    <a:pt x="21" y="0"/>
                  </a:cubicBezTo>
                  <a:cubicBezTo>
                    <a:pt x="54" y="94"/>
                    <a:pt x="54" y="94"/>
                    <a:pt x="54" y="94"/>
                  </a:cubicBezTo>
                  <a:cubicBezTo>
                    <a:pt x="57" y="103"/>
                    <a:pt x="57" y="103"/>
                    <a:pt x="57" y="103"/>
                  </a:cubicBezTo>
                  <a:cubicBezTo>
                    <a:pt x="58" y="103"/>
                    <a:pt x="58" y="103"/>
                    <a:pt x="58" y="103"/>
                  </a:cubicBezTo>
                  <a:cubicBezTo>
                    <a:pt x="58" y="101"/>
                    <a:pt x="59" y="98"/>
                    <a:pt x="60" y="94"/>
                  </a:cubicBezTo>
                  <a:cubicBezTo>
                    <a:pt x="95" y="0"/>
                    <a:pt x="95" y="0"/>
                    <a:pt x="95" y="0"/>
                  </a:cubicBezTo>
                  <a:lnTo>
                    <a:pt x="1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6" name="Freeform 58"/>
            <p:cNvSpPr>
              <a:spLocks/>
            </p:cNvSpPr>
            <p:nvPr userDrawn="1"/>
          </p:nvSpPr>
          <p:spPr bwMode="auto">
            <a:xfrm>
              <a:off x="2469" y="4601"/>
              <a:ext cx="140" cy="414"/>
            </a:xfrm>
            <a:custGeom>
              <a:avLst/>
              <a:gdLst>
                <a:gd name="T0" fmla="*/ 40 w 59"/>
                <a:gd name="T1" fmla="*/ 175 h 175"/>
                <a:gd name="T2" fmla="*/ 40 w 59"/>
                <a:gd name="T3" fmla="*/ 27 h 175"/>
                <a:gd name="T4" fmla="*/ 22 w 59"/>
                <a:gd name="T5" fmla="*/ 39 h 175"/>
                <a:gd name="T6" fmla="*/ 0 w 59"/>
                <a:gd name="T7" fmla="*/ 47 h 175"/>
                <a:gd name="T8" fmla="*/ 0 w 59"/>
                <a:gd name="T9" fmla="*/ 28 h 175"/>
                <a:gd name="T10" fmla="*/ 28 w 59"/>
                <a:gd name="T11" fmla="*/ 16 h 175"/>
                <a:gd name="T12" fmla="*/ 52 w 59"/>
                <a:gd name="T13" fmla="*/ 0 h 175"/>
                <a:gd name="T14" fmla="*/ 59 w 59"/>
                <a:gd name="T15" fmla="*/ 0 h 175"/>
                <a:gd name="T16" fmla="*/ 59 w 59"/>
                <a:gd name="T17" fmla="*/ 175 h 175"/>
                <a:gd name="T18" fmla="*/ 40 w 59"/>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75">
                  <a:moveTo>
                    <a:pt x="40" y="175"/>
                  </a:moveTo>
                  <a:cubicBezTo>
                    <a:pt x="40" y="27"/>
                    <a:pt x="40" y="27"/>
                    <a:pt x="40" y="27"/>
                  </a:cubicBezTo>
                  <a:cubicBezTo>
                    <a:pt x="36" y="31"/>
                    <a:pt x="30" y="34"/>
                    <a:pt x="22" y="39"/>
                  </a:cubicBezTo>
                  <a:cubicBezTo>
                    <a:pt x="14" y="43"/>
                    <a:pt x="7" y="46"/>
                    <a:pt x="0" y="47"/>
                  </a:cubicBezTo>
                  <a:cubicBezTo>
                    <a:pt x="0" y="28"/>
                    <a:pt x="0" y="28"/>
                    <a:pt x="0" y="28"/>
                  </a:cubicBezTo>
                  <a:cubicBezTo>
                    <a:pt x="9" y="25"/>
                    <a:pt x="18" y="21"/>
                    <a:pt x="28" y="16"/>
                  </a:cubicBezTo>
                  <a:cubicBezTo>
                    <a:pt x="38" y="11"/>
                    <a:pt x="46" y="5"/>
                    <a:pt x="52" y="0"/>
                  </a:cubicBezTo>
                  <a:cubicBezTo>
                    <a:pt x="59" y="0"/>
                    <a:pt x="59" y="0"/>
                    <a:pt x="59" y="0"/>
                  </a:cubicBezTo>
                  <a:cubicBezTo>
                    <a:pt x="59" y="175"/>
                    <a:pt x="59" y="175"/>
                    <a:pt x="59"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7" name="Freeform 59"/>
            <p:cNvSpPr>
              <a:spLocks noEditPoints="1"/>
            </p:cNvSpPr>
            <p:nvPr userDrawn="1"/>
          </p:nvSpPr>
          <p:spPr bwMode="auto">
            <a:xfrm>
              <a:off x="2696" y="4603"/>
              <a:ext cx="263" cy="419"/>
            </a:xfrm>
            <a:custGeom>
              <a:avLst/>
              <a:gdLst>
                <a:gd name="T0" fmla="*/ 111 w 111"/>
                <a:gd name="T1" fmla="*/ 88 h 177"/>
                <a:gd name="T2" fmla="*/ 96 w 111"/>
                <a:gd name="T3" fmla="*/ 153 h 177"/>
                <a:gd name="T4" fmla="*/ 54 w 111"/>
                <a:gd name="T5" fmla="*/ 177 h 177"/>
                <a:gd name="T6" fmla="*/ 14 w 111"/>
                <a:gd name="T7" fmla="*/ 155 h 177"/>
                <a:gd name="T8" fmla="*/ 0 w 111"/>
                <a:gd name="T9" fmla="*/ 92 h 177"/>
                <a:gd name="T10" fmla="*/ 14 w 111"/>
                <a:gd name="T11" fmla="*/ 24 h 177"/>
                <a:gd name="T12" fmla="*/ 57 w 111"/>
                <a:gd name="T13" fmla="*/ 0 h 177"/>
                <a:gd name="T14" fmla="*/ 111 w 111"/>
                <a:gd name="T15" fmla="*/ 88 h 177"/>
                <a:gd name="T16" fmla="*/ 91 w 111"/>
                <a:gd name="T17" fmla="*/ 90 h 177"/>
                <a:gd name="T18" fmla="*/ 56 w 111"/>
                <a:gd name="T19" fmla="*/ 17 h 177"/>
                <a:gd name="T20" fmla="*/ 20 w 111"/>
                <a:gd name="T21" fmla="*/ 91 h 177"/>
                <a:gd name="T22" fmla="*/ 55 w 111"/>
                <a:gd name="T23" fmla="*/ 160 h 177"/>
                <a:gd name="T24" fmla="*/ 91 w 111"/>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77">
                  <a:moveTo>
                    <a:pt x="111" y="88"/>
                  </a:moveTo>
                  <a:cubicBezTo>
                    <a:pt x="111" y="116"/>
                    <a:pt x="106" y="138"/>
                    <a:pt x="96" y="153"/>
                  </a:cubicBezTo>
                  <a:cubicBezTo>
                    <a:pt x="86" y="169"/>
                    <a:pt x="72" y="177"/>
                    <a:pt x="54" y="177"/>
                  </a:cubicBezTo>
                  <a:cubicBezTo>
                    <a:pt x="36" y="177"/>
                    <a:pt x="23" y="170"/>
                    <a:pt x="14" y="155"/>
                  </a:cubicBezTo>
                  <a:cubicBezTo>
                    <a:pt x="4" y="140"/>
                    <a:pt x="0" y="119"/>
                    <a:pt x="0" y="92"/>
                  </a:cubicBezTo>
                  <a:cubicBezTo>
                    <a:pt x="0" y="62"/>
                    <a:pt x="4" y="39"/>
                    <a:pt x="14" y="24"/>
                  </a:cubicBezTo>
                  <a:cubicBezTo>
                    <a:pt x="24" y="8"/>
                    <a:pt x="38" y="0"/>
                    <a:pt x="57" y="0"/>
                  </a:cubicBezTo>
                  <a:cubicBezTo>
                    <a:pt x="93" y="0"/>
                    <a:pt x="111" y="29"/>
                    <a:pt x="111" y="88"/>
                  </a:cubicBezTo>
                  <a:close/>
                  <a:moveTo>
                    <a:pt x="91" y="90"/>
                  </a:moveTo>
                  <a:cubicBezTo>
                    <a:pt x="91" y="41"/>
                    <a:pt x="79" y="17"/>
                    <a:pt x="56" y="17"/>
                  </a:cubicBezTo>
                  <a:cubicBezTo>
                    <a:pt x="32" y="17"/>
                    <a:pt x="20" y="41"/>
                    <a:pt x="20" y="91"/>
                  </a:cubicBezTo>
                  <a:cubicBezTo>
                    <a:pt x="20" y="137"/>
                    <a:pt x="32" y="160"/>
                    <a:pt x="55" y="160"/>
                  </a:cubicBezTo>
                  <a:cubicBezTo>
                    <a:pt x="79" y="160"/>
                    <a:pt x="91" y="137"/>
                    <a:pt x="91"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8" name="Rectangle 60"/>
            <p:cNvSpPr>
              <a:spLocks noChangeArrowheads="1"/>
            </p:cNvSpPr>
            <p:nvPr userDrawn="1"/>
          </p:nvSpPr>
          <p:spPr bwMode="auto">
            <a:xfrm>
              <a:off x="3030" y="4835"/>
              <a:ext cx="154" cy="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69" name="Freeform 61"/>
            <p:cNvSpPr>
              <a:spLocks/>
            </p:cNvSpPr>
            <p:nvPr userDrawn="1"/>
          </p:nvSpPr>
          <p:spPr bwMode="auto">
            <a:xfrm>
              <a:off x="3236"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4"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0" name="Freeform 62"/>
            <p:cNvSpPr>
              <a:spLocks noEditPoints="1"/>
            </p:cNvSpPr>
            <p:nvPr userDrawn="1"/>
          </p:nvSpPr>
          <p:spPr bwMode="auto">
            <a:xfrm>
              <a:off x="3453" y="4610"/>
              <a:ext cx="298" cy="405"/>
            </a:xfrm>
            <a:custGeom>
              <a:avLst/>
              <a:gdLst>
                <a:gd name="T0" fmla="*/ 99 w 126"/>
                <a:gd name="T1" fmla="*/ 0 h 171"/>
                <a:gd name="T2" fmla="*/ 99 w 126"/>
                <a:gd name="T3" fmla="*/ 113 h 171"/>
                <a:gd name="T4" fmla="*/ 126 w 126"/>
                <a:gd name="T5" fmla="*/ 113 h 171"/>
                <a:gd name="T6" fmla="*/ 126 w 126"/>
                <a:gd name="T7" fmla="*/ 131 h 171"/>
                <a:gd name="T8" fmla="*/ 99 w 126"/>
                <a:gd name="T9" fmla="*/ 131 h 171"/>
                <a:gd name="T10" fmla="*/ 99 w 126"/>
                <a:gd name="T11" fmla="*/ 171 h 171"/>
                <a:gd name="T12" fmla="*/ 80 w 126"/>
                <a:gd name="T13" fmla="*/ 171 h 171"/>
                <a:gd name="T14" fmla="*/ 80 w 126"/>
                <a:gd name="T15" fmla="*/ 131 h 171"/>
                <a:gd name="T16" fmla="*/ 0 w 126"/>
                <a:gd name="T17" fmla="*/ 131 h 171"/>
                <a:gd name="T18" fmla="*/ 0 w 126"/>
                <a:gd name="T19" fmla="*/ 114 h 171"/>
                <a:gd name="T20" fmla="*/ 46 w 126"/>
                <a:gd name="T21" fmla="*/ 55 h 171"/>
                <a:gd name="T22" fmla="*/ 78 w 126"/>
                <a:gd name="T23" fmla="*/ 0 h 171"/>
                <a:gd name="T24" fmla="*/ 99 w 126"/>
                <a:gd name="T25" fmla="*/ 0 h 171"/>
                <a:gd name="T26" fmla="*/ 22 w 126"/>
                <a:gd name="T27" fmla="*/ 113 h 171"/>
                <a:gd name="T28" fmla="*/ 80 w 126"/>
                <a:gd name="T29" fmla="*/ 113 h 171"/>
                <a:gd name="T30" fmla="*/ 80 w 126"/>
                <a:gd name="T31" fmla="*/ 29 h 171"/>
                <a:gd name="T32" fmla="*/ 34 w 126"/>
                <a:gd name="T33" fmla="*/ 97 h 171"/>
                <a:gd name="T34" fmla="*/ 22 w 126"/>
                <a:gd name="T35" fmla="*/ 11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171">
                  <a:moveTo>
                    <a:pt x="99" y="0"/>
                  </a:moveTo>
                  <a:cubicBezTo>
                    <a:pt x="99" y="113"/>
                    <a:pt x="99" y="113"/>
                    <a:pt x="99" y="113"/>
                  </a:cubicBezTo>
                  <a:cubicBezTo>
                    <a:pt x="126" y="113"/>
                    <a:pt x="126" y="113"/>
                    <a:pt x="126" y="113"/>
                  </a:cubicBezTo>
                  <a:cubicBezTo>
                    <a:pt x="126" y="131"/>
                    <a:pt x="126" y="131"/>
                    <a:pt x="126" y="131"/>
                  </a:cubicBezTo>
                  <a:cubicBezTo>
                    <a:pt x="99" y="131"/>
                    <a:pt x="99" y="131"/>
                    <a:pt x="99" y="131"/>
                  </a:cubicBezTo>
                  <a:cubicBezTo>
                    <a:pt x="99" y="171"/>
                    <a:pt x="99" y="171"/>
                    <a:pt x="99" y="171"/>
                  </a:cubicBezTo>
                  <a:cubicBezTo>
                    <a:pt x="80" y="171"/>
                    <a:pt x="80" y="171"/>
                    <a:pt x="80" y="171"/>
                  </a:cubicBezTo>
                  <a:cubicBezTo>
                    <a:pt x="80" y="131"/>
                    <a:pt x="80" y="131"/>
                    <a:pt x="80" y="131"/>
                  </a:cubicBezTo>
                  <a:cubicBezTo>
                    <a:pt x="0" y="131"/>
                    <a:pt x="0" y="131"/>
                    <a:pt x="0" y="131"/>
                  </a:cubicBezTo>
                  <a:cubicBezTo>
                    <a:pt x="0" y="114"/>
                    <a:pt x="0" y="114"/>
                    <a:pt x="0" y="114"/>
                  </a:cubicBezTo>
                  <a:cubicBezTo>
                    <a:pt x="17" y="95"/>
                    <a:pt x="32" y="75"/>
                    <a:pt x="46" y="55"/>
                  </a:cubicBezTo>
                  <a:cubicBezTo>
                    <a:pt x="60" y="34"/>
                    <a:pt x="71" y="16"/>
                    <a:pt x="78" y="0"/>
                  </a:cubicBezTo>
                  <a:lnTo>
                    <a:pt x="99" y="0"/>
                  </a:lnTo>
                  <a:close/>
                  <a:moveTo>
                    <a:pt x="22" y="113"/>
                  </a:moveTo>
                  <a:cubicBezTo>
                    <a:pt x="80" y="113"/>
                    <a:pt x="80" y="113"/>
                    <a:pt x="80" y="113"/>
                  </a:cubicBezTo>
                  <a:cubicBezTo>
                    <a:pt x="80" y="29"/>
                    <a:pt x="80" y="29"/>
                    <a:pt x="80" y="29"/>
                  </a:cubicBezTo>
                  <a:cubicBezTo>
                    <a:pt x="65" y="56"/>
                    <a:pt x="50" y="78"/>
                    <a:pt x="34" y="97"/>
                  </a:cubicBezTo>
                  <a:lnTo>
                    <a:pt x="2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1" name="Freeform 63"/>
            <p:cNvSpPr>
              <a:spLocks/>
            </p:cNvSpPr>
            <p:nvPr userDrawn="1"/>
          </p:nvSpPr>
          <p:spPr bwMode="auto">
            <a:xfrm>
              <a:off x="3773" y="4951"/>
              <a:ext cx="78" cy="137"/>
            </a:xfrm>
            <a:custGeom>
              <a:avLst/>
              <a:gdLst>
                <a:gd name="T0" fmla="*/ 78 w 78"/>
                <a:gd name="T1" fmla="*/ 0 h 137"/>
                <a:gd name="T2" fmla="*/ 33 w 78"/>
                <a:gd name="T3" fmla="*/ 137 h 137"/>
                <a:gd name="T4" fmla="*/ 0 w 78"/>
                <a:gd name="T5" fmla="*/ 137 h 137"/>
                <a:gd name="T6" fmla="*/ 33 w 78"/>
                <a:gd name="T7" fmla="*/ 0 h 137"/>
                <a:gd name="T8" fmla="*/ 78 w 78"/>
                <a:gd name="T9" fmla="*/ 0 h 137"/>
              </a:gdLst>
              <a:ahLst/>
              <a:cxnLst>
                <a:cxn ang="0">
                  <a:pos x="T0" y="T1"/>
                </a:cxn>
                <a:cxn ang="0">
                  <a:pos x="T2" y="T3"/>
                </a:cxn>
                <a:cxn ang="0">
                  <a:pos x="T4" y="T5"/>
                </a:cxn>
                <a:cxn ang="0">
                  <a:pos x="T6" y="T7"/>
                </a:cxn>
                <a:cxn ang="0">
                  <a:pos x="T8" y="T9"/>
                </a:cxn>
              </a:cxnLst>
              <a:rect l="0" t="0" r="r" b="b"/>
              <a:pathLst>
                <a:path w="78" h="137">
                  <a:moveTo>
                    <a:pt x="78" y="0"/>
                  </a:moveTo>
                  <a:lnTo>
                    <a:pt x="33" y="137"/>
                  </a:lnTo>
                  <a:lnTo>
                    <a:pt x="0" y="137"/>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2" name="Freeform 64"/>
            <p:cNvSpPr>
              <a:spLocks/>
            </p:cNvSpPr>
            <p:nvPr userDrawn="1"/>
          </p:nvSpPr>
          <p:spPr bwMode="auto">
            <a:xfrm>
              <a:off x="4052" y="4603"/>
              <a:ext cx="251" cy="412"/>
            </a:xfrm>
            <a:custGeom>
              <a:avLst/>
              <a:gdLst>
                <a:gd name="T0" fmla="*/ 79 w 106"/>
                <a:gd name="T1" fmla="*/ 48 h 174"/>
                <a:gd name="T2" fmla="*/ 71 w 106"/>
                <a:gd name="T3" fmla="*/ 25 h 174"/>
                <a:gd name="T4" fmla="*/ 48 w 106"/>
                <a:gd name="T5" fmla="*/ 17 h 174"/>
                <a:gd name="T6" fmla="*/ 27 w 106"/>
                <a:gd name="T7" fmla="*/ 22 h 174"/>
                <a:gd name="T8" fmla="*/ 7 w 106"/>
                <a:gd name="T9" fmla="*/ 38 h 174"/>
                <a:gd name="T10" fmla="*/ 7 w 106"/>
                <a:gd name="T11" fmla="*/ 17 h 174"/>
                <a:gd name="T12" fmla="*/ 25 w 106"/>
                <a:gd name="T13" fmla="*/ 4 h 174"/>
                <a:gd name="T14" fmla="*/ 50 w 106"/>
                <a:gd name="T15" fmla="*/ 0 h 174"/>
                <a:gd name="T16" fmla="*/ 86 w 106"/>
                <a:gd name="T17" fmla="*/ 13 h 174"/>
                <a:gd name="T18" fmla="*/ 99 w 106"/>
                <a:gd name="T19" fmla="*/ 46 h 174"/>
                <a:gd name="T20" fmla="*/ 91 w 106"/>
                <a:gd name="T21" fmla="*/ 78 h 174"/>
                <a:gd name="T22" fmla="*/ 61 w 106"/>
                <a:gd name="T23" fmla="*/ 108 h 174"/>
                <a:gd name="T24" fmla="*/ 33 w 106"/>
                <a:gd name="T25" fmla="*/ 129 h 174"/>
                <a:gd name="T26" fmla="*/ 24 w 106"/>
                <a:gd name="T27" fmla="*/ 142 h 174"/>
                <a:gd name="T28" fmla="*/ 21 w 106"/>
                <a:gd name="T29" fmla="*/ 156 h 174"/>
                <a:gd name="T30" fmla="*/ 106 w 106"/>
                <a:gd name="T31" fmla="*/ 156 h 174"/>
                <a:gd name="T32" fmla="*/ 106 w 106"/>
                <a:gd name="T33" fmla="*/ 174 h 174"/>
                <a:gd name="T34" fmla="*/ 0 w 106"/>
                <a:gd name="T35" fmla="*/ 174 h 174"/>
                <a:gd name="T36" fmla="*/ 0 w 106"/>
                <a:gd name="T37" fmla="*/ 165 h 174"/>
                <a:gd name="T38" fmla="*/ 4 w 106"/>
                <a:gd name="T39" fmla="*/ 142 h 174"/>
                <a:gd name="T40" fmla="*/ 16 w 106"/>
                <a:gd name="T41" fmla="*/ 124 h 174"/>
                <a:gd name="T42" fmla="*/ 47 w 106"/>
                <a:gd name="T43" fmla="*/ 98 h 174"/>
                <a:gd name="T44" fmla="*/ 72 w 106"/>
                <a:gd name="T45" fmla="*/ 74 h 174"/>
                <a:gd name="T46" fmla="*/ 79 w 106"/>
                <a:gd name="T47" fmla="*/ 4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174">
                  <a:moveTo>
                    <a:pt x="79" y="48"/>
                  </a:moveTo>
                  <a:cubicBezTo>
                    <a:pt x="79" y="38"/>
                    <a:pt x="77" y="31"/>
                    <a:pt x="71" y="25"/>
                  </a:cubicBezTo>
                  <a:cubicBezTo>
                    <a:pt x="65" y="19"/>
                    <a:pt x="58" y="17"/>
                    <a:pt x="48" y="17"/>
                  </a:cubicBezTo>
                  <a:cubicBezTo>
                    <a:pt x="41" y="17"/>
                    <a:pt x="34" y="19"/>
                    <a:pt x="27" y="22"/>
                  </a:cubicBezTo>
                  <a:cubicBezTo>
                    <a:pt x="19" y="26"/>
                    <a:pt x="13" y="31"/>
                    <a:pt x="7" y="38"/>
                  </a:cubicBezTo>
                  <a:cubicBezTo>
                    <a:pt x="7" y="17"/>
                    <a:pt x="7" y="17"/>
                    <a:pt x="7" y="17"/>
                  </a:cubicBezTo>
                  <a:cubicBezTo>
                    <a:pt x="13" y="11"/>
                    <a:pt x="19" y="7"/>
                    <a:pt x="25" y="4"/>
                  </a:cubicBezTo>
                  <a:cubicBezTo>
                    <a:pt x="32" y="2"/>
                    <a:pt x="41" y="0"/>
                    <a:pt x="50" y="0"/>
                  </a:cubicBezTo>
                  <a:cubicBezTo>
                    <a:pt x="65" y="0"/>
                    <a:pt x="77" y="4"/>
                    <a:pt x="86" y="13"/>
                  </a:cubicBezTo>
                  <a:cubicBezTo>
                    <a:pt x="95" y="21"/>
                    <a:pt x="99" y="32"/>
                    <a:pt x="99" y="46"/>
                  </a:cubicBezTo>
                  <a:cubicBezTo>
                    <a:pt x="99" y="58"/>
                    <a:pt x="97" y="69"/>
                    <a:pt x="91" y="78"/>
                  </a:cubicBezTo>
                  <a:cubicBezTo>
                    <a:pt x="85" y="88"/>
                    <a:pt x="75" y="97"/>
                    <a:pt x="61" y="108"/>
                  </a:cubicBezTo>
                  <a:cubicBezTo>
                    <a:pt x="47" y="118"/>
                    <a:pt x="38" y="125"/>
                    <a:pt x="33" y="129"/>
                  </a:cubicBezTo>
                  <a:cubicBezTo>
                    <a:pt x="29" y="133"/>
                    <a:pt x="25" y="138"/>
                    <a:pt x="24" y="142"/>
                  </a:cubicBezTo>
                  <a:cubicBezTo>
                    <a:pt x="22" y="146"/>
                    <a:pt x="21" y="151"/>
                    <a:pt x="21" y="156"/>
                  </a:cubicBezTo>
                  <a:cubicBezTo>
                    <a:pt x="106" y="156"/>
                    <a:pt x="106" y="156"/>
                    <a:pt x="106" y="156"/>
                  </a:cubicBezTo>
                  <a:cubicBezTo>
                    <a:pt x="106" y="174"/>
                    <a:pt x="106" y="174"/>
                    <a:pt x="106" y="174"/>
                  </a:cubicBezTo>
                  <a:cubicBezTo>
                    <a:pt x="0" y="174"/>
                    <a:pt x="0" y="174"/>
                    <a:pt x="0" y="174"/>
                  </a:cubicBezTo>
                  <a:cubicBezTo>
                    <a:pt x="0" y="165"/>
                    <a:pt x="0" y="165"/>
                    <a:pt x="0" y="165"/>
                  </a:cubicBezTo>
                  <a:cubicBezTo>
                    <a:pt x="0" y="156"/>
                    <a:pt x="2" y="149"/>
                    <a:pt x="4" y="142"/>
                  </a:cubicBezTo>
                  <a:cubicBezTo>
                    <a:pt x="6" y="136"/>
                    <a:pt x="10" y="130"/>
                    <a:pt x="16" y="124"/>
                  </a:cubicBezTo>
                  <a:cubicBezTo>
                    <a:pt x="22" y="118"/>
                    <a:pt x="32" y="109"/>
                    <a:pt x="47" y="98"/>
                  </a:cubicBezTo>
                  <a:cubicBezTo>
                    <a:pt x="59" y="90"/>
                    <a:pt x="67" y="82"/>
                    <a:pt x="72" y="74"/>
                  </a:cubicBezTo>
                  <a:cubicBezTo>
                    <a:pt x="77" y="66"/>
                    <a:pt x="79" y="58"/>
                    <a:pt x="7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3" name="Freeform 65"/>
            <p:cNvSpPr>
              <a:spLocks noEditPoints="1"/>
            </p:cNvSpPr>
            <p:nvPr userDrawn="1"/>
          </p:nvSpPr>
          <p:spPr bwMode="auto">
            <a:xfrm>
              <a:off x="4357" y="4603"/>
              <a:ext cx="265" cy="419"/>
            </a:xfrm>
            <a:custGeom>
              <a:avLst/>
              <a:gdLst>
                <a:gd name="T0" fmla="*/ 112 w 112"/>
                <a:gd name="T1" fmla="*/ 88 h 177"/>
                <a:gd name="T2" fmla="*/ 97 w 112"/>
                <a:gd name="T3" fmla="*/ 153 h 177"/>
                <a:gd name="T4" fmla="*/ 54 w 112"/>
                <a:gd name="T5" fmla="*/ 177 h 177"/>
                <a:gd name="T6" fmla="*/ 14 w 112"/>
                <a:gd name="T7" fmla="*/ 155 h 177"/>
                <a:gd name="T8" fmla="*/ 0 w 112"/>
                <a:gd name="T9" fmla="*/ 92 h 177"/>
                <a:gd name="T10" fmla="*/ 15 w 112"/>
                <a:gd name="T11" fmla="*/ 24 h 177"/>
                <a:gd name="T12" fmla="*/ 58 w 112"/>
                <a:gd name="T13" fmla="*/ 0 h 177"/>
                <a:gd name="T14" fmla="*/ 112 w 112"/>
                <a:gd name="T15" fmla="*/ 88 h 177"/>
                <a:gd name="T16" fmla="*/ 92 w 112"/>
                <a:gd name="T17" fmla="*/ 90 h 177"/>
                <a:gd name="T18" fmla="*/ 57 w 112"/>
                <a:gd name="T19" fmla="*/ 17 h 177"/>
                <a:gd name="T20" fmla="*/ 20 w 112"/>
                <a:gd name="T21" fmla="*/ 91 h 177"/>
                <a:gd name="T22" fmla="*/ 56 w 112"/>
                <a:gd name="T23" fmla="*/ 160 h 177"/>
                <a:gd name="T24" fmla="*/ 92 w 112"/>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77">
                  <a:moveTo>
                    <a:pt x="112" y="88"/>
                  </a:moveTo>
                  <a:cubicBezTo>
                    <a:pt x="112" y="116"/>
                    <a:pt x="107" y="138"/>
                    <a:pt x="97" y="153"/>
                  </a:cubicBezTo>
                  <a:cubicBezTo>
                    <a:pt x="87" y="169"/>
                    <a:pt x="73" y="177"/>
                    <a:pt x="54" y="177"/>
                  </a:cubicBezTo>
                  <a:cubicBezTo>
                    <a:pt x="37" y="177"/>
                    <a:pt x="24" y="170"/>
                    <a:pt x="14" y="155"/>
                  </a:cubicBezTo>
                  <a:cubicBezTo>
                    <a:pt x="5" y="140"/>
                    <a:pt x="0" y="119"/>
                    <a:pt x="0" y="92"/>
                  </a:cubicBezTo>
                  <a:cubicBezTo>
                    <a:pt x="0" y="62"/>
                    <a:pt x="5" y="39"/>
                    <a:pt x="15" y="24"/>
                  </a:cubicBezTo>
                  <a:cubicBezTo>
                    <a:pt x="25" y="8"/>
                    <a:pt x="39" y="0"/>
                    <a:pt x="58" y="0"/>
                  </a:cubicBezTo>
                  <a:cubicBezTo>
                    <a:pt x="94" y="0"/>
                    <a:pt x="112" y="29"/>
                    <a:pt x="112" y="88"/>
                  </a:cubicBezTo>
                  <a:close/>
                  <a:moveTo>
                    <a:pt x="92" y="90"/>
                  </a:moveTo>
                  <a:cubicBezTo>
                    <a:pt x="92" y="41"/>
                    <a:pt x="80" y="17"/>
                    <a:pt x="57" y="17"/>
                  </a:cubicBezTo>
                  <a:cubicBezTo>
                    <a:pt x="32" y="17"/>
                    <a:pt x="20" y="41"/>
                    <a:pt x="20" y="91"/>
                  </a:cubicBezTo>
                  <a:cubicBezTo>
                    <a:pt x="20" y="137"/>
                    <a:pt x="32" y="160"/>
                    <a:pt x="56" y="160"/>
                  </a:cubicBezTo>
                  <a:cubicBezTo>
                    <a:pt x="80" y="160"/>
                    <a:pt x="92" y="137"/>
                    <a:pt x="9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4" name="Freeform 66"/>
            <p:cNvSpPr>
              <a:spLocks/>
            </p:cNvSpPr>
            <p:nvPr userDrawn="1"/>
          </p:nvSpPr>
          <p:spPr bwMode="auto">
            <a:xfrm>
              <a:off x="4667"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5"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5" name="Freeform 67"/>
            <p:cNvSpPr>
              <a:spLocks noEditPoints="1"/>
            </p:cNvSpPr>
            <p:nvPr userDrawn="1"/>
          </p:nvSpPr>
          <p:spPr bwMode="auto">
            <a:xfrm>
              <a:off x="4901" y="4603"/>
              <a:ext cx="258" cy="419"/>
            </a:xfrm>
            <a:custGeom>
              <a:avLst/>
              <a:gdLst>
                <a:gd name="T0" fmla="*/ 109 w 109"/>
                <a:gd name="T1" fmla="*/ 120 h 177"/>
                <a:gd name="T2" fmla="*/ 102 w 109"/>
                <a:gd name="T3" fmla="*/ 149 h 177"/>
                <a:gd name="T4" fmla="*/ 82 w 109"/>
                <a:gd name="T5" fmla="*/ 170 h 177"/>
                <a:gd name="T6" fmla="*/ 55 w 109"/>
                <a:gd name="T7" fmla="*/ 177 h 177"/>
                <a:gd name="T8" fmla="*/ 15 w 109"/>
                <a:gd name="T9" fmla="*/ 156 h 177"/>
                <a:gd name="T10" fmla="*/ 0 w 109"/>
                <a:gd name="T11" fmla="*/ 99 h 177"/>
                <a:gd name="T12" fmla="*/ 9 w 109"/>
                <a:gd name="T13" fmla="*/ 47 h 177"/>
                <a:gd name="T14" fmla="*/ 33 w 109"/>
                <a:gd name="T15" fmla="*/ 12 h 177"/>
                <a:gd name="T16" fmla="*/ 70 w 109"/>
                <a:gd name="T17" fmla="*/ 0 h 177"/>
                <a:gd name="T18" fmla="*/ 98 w 109"/>
                <a:gd name="T19" fmla="*/ 5 h 177"/>
                <a:gd name="T20" fmla="*/ 98 w 109"/>
                <a:gd name="T21" fmla="*/ 23 h 177"/>
                <a:gd name="T22" fmla="*/ 70 w 109"/>
                <a:gd name="T23" fmla="*/ 17 h 177"/>
                <a:gd name="T24" fmla="*/ 34 w 109"/>
                <a:gd name="T25" fmla="*/ 37 h 177"/>
                <a:gd name="T26" fmla="*/ 20 w 109"/>
                <a:gd name="T27" fmla="*/ 91 h 177"/>
                <a:gd name="T28" fmla="*/ 21 w 109"/>
                <a:gd name="T29" fmla="*/ 91 h 177"/>
                <a:gd name="T30" fmla="*/ 60 w 109"/>
                <a:gd name="T31" fmla="*/ 67 h 177"/>
                <a:gd name="T32" fmla="*/ 95 w 109"/>
                <a:gd name="T33" fmla="*/ 81 h 177"/>
                <a:gd name="T34" fmla="*/ 109 w 109"/>
                <a:gd name="T35" fmla="*/ 120 h 177"/>
                <a:gd name="T36" fmla="*/ 89 w 109"/>
                <a:gd name="T37" fmla="*/ 122 h 177"/>
                <a:gd name="T38" fmla="*/ 80 w 109"/>
                <a:gd name="T39" fmla="*/ 94 h 177"/>
                <a:gd name="T40" fmla="*/ 55 w 109"/>
                <a:gd name="T41" fmla="*/ 84 h 177"/>
                <a:gd name="T42" fmla="*/ 31 w 109"/>
                <a:gd name="T43" fmla="*/ 94 h 177"/>
                <a:gd name="T44" fmla="*/ 21 w 109"/>
                <a:gd name="T45" fmla="*/ 118 h 177"/>
                <a:gd name="T46" fmla="*/ 31 w 109"/>
                <a:gd name="T47" fmla="*/ 148 h 177"/>
                <a:gd name="T48" fmla="*/ 56 w 109"/>
                <a:gd name="T49" fmla="*/ 160 h 177"/>
                <a:gd name="T50" fmla="*/ 79 w 109"/>
                <a:gd name="T51" fmla="*/ 150 h 177"/>
                <a:gd name="T52" fmla="*/ 89 w 109"/>
                <a:gd name="T53" fmla="*/ 12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77">
                  <a:moveTo>
                    <a:pt x="109" y="120"/>
                  </a:moveTo>
                  <a:cubicBezTo>
                    <a:pt x="109" y="130"/>
                    <a:pt x="106" y="140"/>
                    <a:pt x="102" y="149"/>
                  </a:cubicBezTo>
                  <a:cubicBezTo>
                    <a:pt x="97" y="158"/>
                    <a:pt x="90" y="165"/>
                    <a:pt x="82" y="170"/>
                  </a:cubicBezTo>
                  <a:cubicBezTo>
                    <a:pt x="74" y="174"/>
                    <a:pt x="65" y="177"/>
                    <a:pt x="55" y="177"/>
                  </a:cubicBezTo>
                  <a:cubicBezTo>
                    <a:pt x="38" y="177"/>
                    <a:pt x="24" y="170"/>
                    <a:pt x="15" y="156"/>
                  </a:cubicBezTo>
                  <a:cubicBezTo>
                    <a:pt x="5" y="143"/>
                    <a:pt x="0" y="123"/>
                    <a:pt x="0" y="99"/>
                  </a:cubicBezTo>
                  <a:cubicBezTo>
                    <a:pt x="0" y="79"/>
                    <a:pt x="3" y="62"/>
                    <a:pt x="9" y="47"/>
                  </a:cubicBezTo>
                  <a:cubicBezTo>
                    <a:pt x="14" y="32"/>
                    <a:pt x="23" y="20"/>
                    <a:pt x="33" y="12"/>
                  </a:cubicBezTo>
                  <a:cubicBezTo>
                    <a:pt x="44" y="4"/>
                    <a:pt x="56" y="0"/>
                    <a:pt x="70" y="0"/>
                  </a:cubicBezTo>
                  <a:cubicBezTo>
                    <a:pt x="81" y="0"/>
                    <a:pt x="91" y="2"/>
                    <a:pt x="98" y="5"/>
                  </a:cubicBezTo>
                  <a:cubicBezTo>
                    <a:pt x="98" y="23"/>
                    <a:pt x="98" y="23"/>
                    <a:pt x="98" y="23"/>
                  </a:cubicBezTo>
                  <a:cubicBezTo>
                    <a:pt x="89" y="19"/>
                    <a:pt x="80" y="17"/>
                    <a:pt x="70" y="17"/>
                  </a:cubicBezTo>
                  <a:cubicBezTo>
                    <a:pt x="55" y="17"/>
                    <a:pt x="43" y="23"/>
                    <a:pt x="34" y="37"/>
                  </a:cubicBezTo>
                  <a:cubicBezTo>
                    <a:pt x="25" y="51"/>
                    <a:pt x="20" y="69"/>
                    <a:pt x="20" y="91"/>
                  </a:cubicBezTo>
                  <a:cubicBezTo>
                    <a:pt x="21" y="91"/>
                    <a:pt x="21" y="91"/>
                    <a:pt x="21" y="91"/>
                  </a:cubicBezTo>
                  <a:cubicBezTo>
                    <a:pt x="29" y="75"/>
                    <a:pt x="42" y="67"/>
                    <a:pt x="60" y="67"/>
                  </a:cubicBezTo>
                  <a:cubicBezTo>
                    <a:pt x="74" y="67"/>
                    <a:pt x="86" y="72"/>
                    <a:pt x="95" y="81"/>
                  </a:cubicBezTo>
                  <a:cubicBezTo>
                    <a:pt x="104" y="91"/>
                    <a:pt x="109" y="104"/>
                    <a:pt x="109" y="120"/>
                  </a:cubicBezTo>
                  <a:close/>
                  <a:moveTo>
                    <a:pt x="89" y="122"/>
                  </a:moveTo>
                  <a:cubicBezTo>
                    <a:pt x="89" y="110"/>
                    <a:pt x="86" y="101"/>
                    <a:pt x="80" y="94"/>
                  </a:cubicBezTo>
                  <a:cubicBezTo>
                    <a:pt x="74" y="87"/>
                    <a:pt x="66" y="84"/>
                    <a:pt x="55" y="84"/>
                  </a:cubicBezTo>
                  <a:cubicBezTo>
                    <a:pt x="46" y="84"/>
                    <a:pt x="38" y="87"/>
                    <a:pt x="31" y="94"/>
                  </a:cubicBezTo>
                  <a:cubicBezTo>
                    <a:pt x="25" y="100"/>
                    <a:pt x="21" y="108"/>
                    <a:pt x="21" y="118"/>
                  </a:cubicBezTo>
                  <a:cubicBezTo>
                    <a:pt x="21" y="130"/>
                    <a:pt x="25" y="140"/>
                    <a:pt x="31" y="148"/>
                  </a:cubicBezTo>
                  <a:cubicBezTo>
                    <a:pt x="38" y="156"/>
                    <a:pt x="46" y="160"/>
                    <a:pt x="56" y="160"/>
                  </a:cubicBezTo>
                  <a:cubicBezTo>
                    <a:pt x="65" y="160"/>
                    <a:pt x="73" y="157"/>
                    <a:pt x="79" y="150"/>
                  </a:cubicBezTo>
                  <a:cubicBezTo>
                    <a:pt x="85" y="143"/>
                    <a:pt x="89" y="133"/>
                    <a:pt x="89"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
        <p:nvSpPr>
          <p:cNvPr id="76" name="Freeform 6"/>
          <p:cNvSpPr>
            <a:spLocks/>
          </p:cNvSpPr>
          <p:nvPr userDrawn="1"/>
        </p:nvSpPr>
        <p:spPr bwMode="auto">
          <a:xfrm>
            <a:off x="8433553" y="6059509"/>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90" name="Freeform 19"/>
          <p:cNvSpPr>
            <a:spLocks/>
          </p:cNvSpPr>
          <p:nvPr userDrawn="1"/>
        </p:nvSpPr>
        <p:spPr bwMode="auto">
          <a:xfrm>
            <a:off x="8402428" y="5626799"/>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nvGrpSpPr>
          <p:cNvPr id="103" name="Group 102"/>
          <p:cNvGrpSpPr/>
          <p:nvPr userDrawn="1"/>
        </p:nvGrpSpPr>
        <p:grpSpPr>
          <a:xfrm>
            <a:off x="0" y="4244614"/>
            <a:ext cx="12192000" cy="2613387"/>
            <a:chOff x="0" y="4329113"/>
            <a:chExt cx="12436475" cy="2665413"/>
          </a:xfrm>
        </p:grpSpPr>
        <p:sp>
          <p:nvSpPr>
            <p:cNvPr id="92" name="Freeform 21"/>
            <p:cNvSpPr>
              <a:spLocks noEditPoints="1"/>
            </p:cNvSpPr>
            <p:nvPr userDrawn="1"/>
          </p:nvSpPr>
          <p:spPr bwMode="auto">
            <a:xfrm>
              <a:off x="3273425" y="4329113"/>
              <a:ext cx="9163050" cy="2665413"/>
            </a:xfrm>
            <a:custGeom>
              <a:avLst/>
              <a:gdLst>
                <a:gd name="T0" fmla="*/ 1597 w 1671"/>
                <a:gd name="T1" fmla="*/ 16 h 486"/>
                <a:gd name="T2" fmla="*/ 1574 w 1671"/>
                <a:gd name="T3" fmla="*/ 67 h 486"/>
                <a:gd name="T4" fmla="*/ 1470 w 1671"/>
                <a:gd name="T5" fmla="*/ 142 h 486"/>
                <a:gd name="T6" fmla="*/ 1369 w 1671"/>
                <a:gd name="T7" fmla="*/ 200 h 486"/>
                <a:gd name="T8" fmla="*/ 1309 w 1671"/>
                <a:gd name="T9" fmla="*/ 219 h 486"/>
                <a:gd name="T10" fmla="*/ 1241 w 1671"/>
                <a:gd name="T11" fmla="*/ 220 h 486"/>
                <a:gd name="T12" fmla="*/ 1143 w 1671"/>
                <a:gd name="T13" fmla="*/ 240 h 486"/>
                <a:gd name="T14" fmla="*/ 952 w 1671"/>
                <a:gd name="T15" fmla="*/ 283 h 486"/>
                <a:gd name="T16" fmla="*/ 898 w 1671"/>
                <a:gd name="T17" fmla="*/ 291 h 486"/>
                <a:gd name="T18" fmla="*/ 647 w 1671"/>
                <a:gd name="T19" fmla="*/ 226 h 486"/>
                <a:gd name="T20" fmla="*/ 248 w 1671"/>
                <a:gd name="T21" fmla="*/ 223 h 486"/>
                <a:gd name="T22" fmla="*/ 114 w 1671"/>
                <a:gd name="T23" fmla="*/ 239 h 486"/>
                <a:gd name="T24" fmla="*/ 50 w 1671"/>
                <a:gd name="T25" fmla="*/ 239 h 486"/>
                <a:gd name="T26" fmla="*/ 64 w 1671"/>
                <a:gd name="T27" fmla="*/ 486 h 486"/>
                <a:gd name="T28" fmla="*/ 114 w 1671"/>
                <a:gd name="T29" fmla="*/ 486 h 486"/>
                <a:gd name="T30" fmla="*/ 185 w 1671"/>
                <a:gd name="T31" fmla="*/ 486 h 486"/>
                <a:gd name="T32" fmla="*/ 248 w 1671"/>
                <a:gd name="T33" fmla="*/ 486 h 486"/>
                <a:gd name="T34" fmla="*/ 653 w 1671"/>
                <a:gd name="T35" fmla="*/ 486 h 486"/>
                <a:gd name="T36" fmla="*/ 727 w 1671"/>
                <a:gd name="T37" fmla="*/ 486 h 486"/>
                <a:gd name="T38" fmla="*/ 917 w 1671"/>
                <a:gd name="T39" fmla="*/ 486 h 486"/>
                <a:gd name="T40" fmla="*/ 952 w 1671"/>
                <a:gd name="T41" fmla="*/ 486 h 486"/>
                <a:gd name="T42" fmla="*/ 1091 w 1671"/>
                <a:gd name="T43" fmla="*/ 486 h 486"/>
                <a:gd name="T44" fmla="*/ 1491 w 1671"/>
                <a:gd name="T45" fmla="*/ 486 h 486"/>
                <a:gd name="T46" fmla="*/ 1571 w 1671"/>
                <a:gd name="T47" fmla="*/ 486 h 486"/>
                <a:gd name="T48" fmla="*/ 304 w 1671"/>
                <a:gd name="T49" fmla="*/ 376 h 486"/>
                <a:gd name="T50" fmla="*/ 304 w 1671"/>
                <a:gd name="T51" fmla="*/ 365 h 486"/>
                <a:gd name="T52" fmla="*/ 304 w 1671"/>
                <a:gd name="T53" fmla="*/ 354 h 486"/>
                <a:gd name="T54" fmla="*/ 334 w 1671"/>
                <a:gd name="T55" fmla="*/ 376 h 486"/>
                <a:gd name="T56" fmla="*/ 334 w 1671"/>
                <a:gd name="T57" fmla="*/ 365 h 486"/>
                <a:gd name="T58" fmla="*/ 334 w 1671"/>
                <a:gd name="T59" fmla="*/ 354 h 486"/>
                <a:gd name="T60" fmla="*/ 364 w 1671"/>
                <a:gd name="T61" fmla="*/ 376 h 486"/>
                <a:gd name="T62" fmla="*/ 364 w 1671"/>
                <a:gd name="T63" fmla="*/ 365 h 486"/>
                <a:gd name="T64" fmla="*/ 364 w 1671"/>
                <a:gd name="T65" fmla="*/ 354 h 486"/>
                <a:gd name="T66" fmla="*/ 447 w 1671"/>
                <a:gd name="T67" fmla="*/ 376 h 486"/>
                <a:gd name="T68" fmla="*/ 447 w 1671"/>
                <a:gd name="T69" fmla="*/ 365 h 486"/>
                <a:gd name="T70" fmla="*/ 447 w 1671"/>
                <a:gd name="T71" fmla="*/ 354 h 486"/>
                <a:gd name="T72" fmla="*/ 477 w 1671"/>
                <a:gd name="T73" fmla="*/ 376 h 486"/>
                <a:gd name="T74" fmla="*/ 477 w 1671"/>
                <a:gd name="T75" fmla="*/ 365 h 486"/>
                <a:gd name="T76" fmla="*/ 477 w 1671"/>
                <a:gd name="T77" fmla="*/ 354 h 486"/>
                <a:gd name="T78" fmla="*/ 507 w 1671"/>
                <a:gd name="T79" fmla="*/ 376 h 486"/>
                <a:gd name="T80" fmla="*/ 507 w 1671"/>
                <a:gd name="T81" fmla="*/ 365 h 486"/>
                <a:gd name="T82" fmla="*/ 507 w 1671"/>
                <a:gd name="T83" fmla="*/ 354 h 486"/>
                <a:gd name="T84" fmla="*/ 416 w 1671"/>
                <a:gd name="T85" fmla="*/ 246 h 486"/>
                <a:gd name="T86" fmla="*/ 568 w 1671"/>
                <a:gd name="T87" fmla="*/ 376 h 486"/>
                <a:gd name="T88" fmla="*/ 568 w 1671"/>
                <a:gd name="T89" fmla="*/ 365 h 486"/>
                <a:gd name="T90" fmla="*/ 568 w 1671"/>
                <a:gd name="T91" fmla="*/ 354 h 486"/>
                <a:gd name="T92" fmla="*/ 598 w 1671"/>
                <a:gd name="T93" fmla="*/ 376 h 486"/>
                <a:gd name="T94" fmla="*/ 598 w 1671"/>
                <a:gd name="T95" fmla="*/ 365 h 486"/>
                <a:gd name="T96" fmla="*/ 598 w 1671"/>
                <a:gd name="T97" fmla="*/ 354 h 486"/>
                <a:gd name="T98" fmla="*/ 628 w 1671"/>
                <a:gd name="T99" fmla="*/ 376 h 486"/>
                <a:gd name="T100" fmla="*/ 628 w 1671"/>
                <a:gd name="T101" fmla="*/ 365 h 486"/>
                <a:gd name="T102" fmla="*/ 628 w 1671"/>
                <a:gd name="T103" fmla="*/ 35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71" h="486">
                  <a:moveTo>
                    <a:pt x="1607" y="78"/>
                  </a:moveTo>
                  <a:cubicBezTo>
                    <a:pt x="1607" y="67"/>
                    <a:pt x="1607" y="67"/>
                    <a:pt x="1607" y="67"/>
                  </a:cubicBezTo>
                  <a:cubicBezTo>
                    <a:pt x="1598" y="67"/>
                    <a:pt x="1598" y="67"/>
                    <a:pt x="1598" y="67"/>
                  </a:cubicBezTo>
                  <a:cubicBezTo>
                    <a:pt x="1598" y="16"/>
                    <a:pt x="1598" y="16"/>
                    <a:pt x="1598" y="16"/>
                  </a:cubicBezTo>
                  <a:cubicBezTo>
                    <a:pt x="1597" y="16"/>
                    <a:pt x="1597" y="16"/>
                    <a:pt x="1597" y="16"/>
                  </a:cubicBezTo>
                  <a:cubicBezTo>
                    <a:pt x="1597" y="67"/>
                    <a:pt x="1597" y="67"/>
                    <a:pt x="1597" y="67"/>
                  </a:cubicBezTo>
                  <a:cubicBezTo>
                    <a:pt x="1577" y="67"/>
                    <a:pt x="1577" y="67"/>
                    <a:pt x="1577" y="67"/>
                  </a:cubicBezTo>
                  <a:cubicBezTo>
                    <a:pt x="1577" y="0"/>
                    <a:pt x="1577" y="0"/>
                    <a:pt x="1577" y="0"/>
                  </a:cubicBezTo>
                  <a:cubicBezTo>
                    <a:pt x="1574" y="0"/>
                    <a:pt x="1574" y="0"/>
                    <a:pt x="1574" y="0"/>
                  </a:cubicBezTo>
                  <a:cubicBezTo>
                    <a:pt x="1574" y="67"/>
                    <a:pt x="1574" y="67"/>
                    <a:pt x="1574" y="67"/>
                  </a:cubicBezTo>
                  <a:cubicBezTo>
                    <a:pt x="1567" y="67"/>
                    <a:pt x="1567" y="67"/>
                    <a:pt x="1567" y="67"/>
                  </a:cubicBezTo>
                  <a:cubicBezTo>
                    <a:pt x="1567" y="78"/>
                    <a:pt x="1567" y="78"/>
                    <a:pt x="1567" y="78"/>
                  </a:cubicBezTo>
                  <a:cubicBezTo>
                    <a:pt x="1559" y="78"/>
                    <a:pt x="1559" y="78"/>
                    <a:pt x="1559" y="78"/>
                  </a:cubicBezTo>
                  <a:cubicBezTo>
                    <a:pt x="1543" y="84"/>
                    <a:pt x="1543" y="84"/>
                    <a:pt x="1543" y="84"/>
                  </a:cubicBezTo>
                  <a:cubicBezTo>
                    <a:pt x="1470" y="142"/>
                    <a:pt x="1470" y="142"/>
                    <a:pt x="1470" y="142"/>
                  </a:cubicBezTo>
                  <a:cubicBezTo>
                    <a:pt x="1437" y="147"/>
                    <a:pt x="1437" y="147"/>
                    <a:pt x="1437" y="147"/>
                  </a:cubicBezTo>
                  <a:cubicBezTo>
                    <a:pt x="1437" y="207"/>
                    <a:pt x="1437" y="207"/>
                    <a:pt x="1437" y="207"/>
                  </a:cubicBezTo>
                  <a:cubicBezTo>
                    <a:pt x="1387" y="207"/>
                    <a:pt x="1387" y="207"/>
                    <a:pt x="1387" y="207"/>
                  </a:cubicBezTo>
                  <a:cubicBezTo>
                    <a:pt x="1380" y="200"/>
                    <a:pt x="1380" y="200"/>
                    <a:pt x="1380" y="200"/>
                  </a:cubicBezTo>
                  <a:cubicBezTo>
                    <a:pt x="1369" y="200"/>
                    <a:pt x="1369" y="200"/>
                    <a:pt x="1369" y="200"/>
                  </a:cubicBezTo>
                  <a:cubicBezTo>
                    <a:pt x="1369" y="189"/>
                    <a:pt x="1369" y="189"/>
                    <a:pt x="1369" y="189"/>
                  </a:cubicBezTo>
                  <a:cubicBezTo>
                    <a:pt x="1325" y="189"/>
                    <a:pt x="1325" y="189"/>
                    <a:pt x="1325" y="189"/>
                  </a:cubicBezTo>
                  <a:cubicBezTo>
                    <a:pt x="1325" y="199"/>
                    <a:pt x="1325" y="199"/>
                    <a:pt x="1325" y="199"/>
                  </a:cubicBezTo>
                  <a:cubicBezTo>
                    <a:pt x="1309" y="206"/>
                    <a:pt x="1309" y="206"/>
                    <a:pt x="1309" y="206"/>
                  </a:cubicBezTo>
                  <a:cubicBezTo>
                    <a:pt x="1309" y="219"/>
                    <a:pt x="1309" y="219"/>
                    <a:pt x="1309" y="219"/>
                  </a:cubicBezTo>
                  <a:cubicBezTo>
                    <a:pt x="1284" y="219"/>
                    <a:pt x="1284" y="219"/>
                    <a:pt x="1284" y="219"/>
                  </a:cubicBezTo>
                  <a:cubicBezTo>
                    <a:pt x="1284" y="205"/>
                    <a:pt x="1284" y="205"/>
                    <a:pt x="1284" y="205"/>
                  </a:cubicBezTo>
                  <a:cubicBezTo>
                    <a:pt x="1262" y="205"/>
                    <a:pt x="1262" y="205"/>
                    <a:pt x="1262" y="205"/>
                  </a:cubicBezTo>
                  <a:cubicBezTo>
                    <a:pt x="1262" y="220"/>
                    <a:pt x="1262" y="220"/>
                    <a:pt x="1262" y="220"/>
                  </a:cubicBezTo>
                  <a:cubicBezTo>
                    <a:pt x="1241" y="220"/>
                    <a:pt x="1241" y="220"/>
                    <a:pt x="1241" y="220"/>
                  </a:cubicBezTo>
                  <a:cubicBezTo>
                    <a:pt x="1241" y="234"/>
                    <a:pt x="1241" y="234"/>
                    <a:pt x="1241" y="234"/>
                  </a:cubicBezTo>
                  <a:cubicBezTo>
                    <a:pt x="1183" y="234"/>
                    <a:pt x="1183" y="234"/>
                    <a:pt x="1183" y="234"/>
                  </a:cubicBezTo>
                  <a:cubicBezTo>
                    <a:pt x="1183" y="226"/>
                    <a:pt x="1183" y="226"/>
                    <a:pt x="1183" y="226"/>
                  </a:cubicBezTo>
                  <a:cubicBezTo>
                    <a:pt x="1143" y="226"/>
                    <a:pt x="1143" y="226"/>
                    <a:pt x="1143" y="226"/>
                  </a:cubicBezTo>
                  <a:cubicBezTo>
                    <a:pt x="1143" y="240"/>
                    <a:pt x="1143" y="240"/>
                    <a:pt x="1143" y="240"/>
                  </a:cubicBezTo>
                  <a:cubicBezTo>
                    <a:pt x="1091" y="240"/>
                    <a:pt x="1091" y="240"/>
                    <a:pt x="1091" y="240"/>
                  </a:cubicBezTo>
                  <a:cubicBezTo>
                    <a:pt x="1091" y="141"/>
                    <a:pt x="1091" y="141"/>
                    <a:pt x="1091" y="141"/>
                  </a:cubicBezTo>
                  <a:cubicBezTo>
                    <a:pt x="970" y="141"/>
                    <a:pt x="970" y="141"/>
                    <a:pt x="970" y="141"/>
                  </a:cubicBezTo>
                  <a:cubicBezTo>
                    <a:pt x="970" y="283"/>
                    <a:pt x="970" y="283"/>
                    <a:pt x="970" y="283"/>
                  </a:cubicBezTo>
                  <a:cubicBezTo>
                    <a:pt x="952" y="283"/>
                    <a:pt x="952" y="283"/>
                    <a:pt x="952" y="283"/>
                  </a:cubicBezTo>
                  <a:cubicBezTo>
                    <a:pt x="952" y="294"/>
                    <a:pt x="952" y="294"/>
                    <a:pt x="952" y="294"/>
                  </a:cubicBezTo>
                  <a:cubicBezTo>
                    <a:pt x="917" y="294"/>
                    <a:pt x="917" y="294"/>
                    <a:pt x="917" y="294"/>
                  </a:cubicBezTo>
                  <a:cubicBezTo>
                    <a:pt x="917" y="316"/>
                    <a:pt x="917" y="316"/>
                    <a:pt x="917" y="316"/>
                  </a:cubicBezTo>
                  <a:cubicBezTo>
                    <a:pt x="898" y="316"/>
                    <a:pt x="898" y="316"/>
                    <a:pt x="898" y="316"/>
                  </a:cubicBezTo>
                  <a:cubicBezTo>
                    <a:pt x="898" y="291"/>
                    <a:pt x="898" y="291"/>
                    <a:pt x="898" y="291"/>
                  </a:cubicBezTo>
                  <a:cubicBezTo>
                    <a:pt x="761" y="291"/>
                    <a:pt x="761" y="291"/>
                    <a:pt x="761" y="291"/>
                  </a:cubicBezTo>
                  <a:cubicBezTo>
                    <a:pt x="761" y="281"/>
                    <a:pt x="761" y="281"/>
                    <a:pt x="761" y="281"/>
                  </a:cubicBezTo>
                  <a:cubicBezTo>
                    <a:pt x="727" y="281"/>
                    <a:pt x="727" y="281"/>
                    <a:pt x="727" y="281"/>
                  </a:cubicBezTo>
                  <a:cubicBezTo>
                    <a:pt x="727" y="226"/>
                    <a:pt x="727" y="226"/>
                    <a:pt x="727" y="226"/>
                  </a:cubicBezTo>
                  <a:cubicBezTo>
                    <a:pt x="647" y="226"/>
                    <a:pt x="647" y="226"/>
                    <a:pt x="647" y="226"/>
                  </a:cubicBezTo>
                  <a:cubicBezTo>
                    <a:pt x="647" y="294"/>
                    <a:pt x="647" y="294"/>
                    <a:pt x="647" y="294"/>
                  </a:cubicBezTo>
                  <a:cubicBezTo>
                    <a:pt x="477" y="154"/>
                    <a:pt x="326" y="244"/>
                    <a:pt x="276" y="283"/>
                  </a:cubicBezTo>
                  <a:cubicBezTo>
                    <a:pt x="276" y="247"/>
                    <a:pt x="276" y="247"/>
                    <a:pt x="276" y="247"/>
                  </a:cubicBezTo>
                  <a:cubicBezTo>
                    <a:pt x="248" y="247"/>
                    <a:pt x="248" y="247"/>
                    <a:pt x="248" y="247"/>
                  </a:cubicBezTo>
                  <a:cubicBezTo>
                    <a:pt x="248" y="223"/>
                    <a:pt x="248" y="223"/>
                    <a:pt x="248" y="223"/>
                  </a:cubicBezTo>
                  <a:cubicBezTo>
                    <a:pt x="185" y="223"/>
                    <a:pt x="185" y="223"/>
                    <a:pt x="185" y="223"/>
                  </a:cubicBezTo>
                  <a:cubicBezTo>
                    <a:pt x="185" y="353"/>
                    <a:pt x="185" y="353"/>
                    <a:pt x="185" y="353"/>
                  </a:cubicBezTo>
                  <a:cubicBezTo>
                    <a:pt x="153" y="353"/>
                    <a:pt x="153" y="353"/>
                    <a:pt x="153" y="353"/>
                  </a:cubicBezTo>
                  <a:cubicBezTo>
                    <a:pt x="153" y="239"/>
                    <a:pt x="153" y="239"/>
                    <a:pt x="153" y="239"/>
                  </a:cubicBezTo>
                  <a:cubicBezTo>
                    <a:pt x="114" y="239"/>
                    <a:pt x="114" y="239"/>
                    <a:pt x="114" y="239"/>
                  </a:cubicBezTo>
                  <a:cubicBezTo>
                    <a:pt x="114" y="199"/>
                    <a:pt x="114" y="199"/>
                    <a:pt x="114" y="199"/>
                  </a:cubicBezTo>
                  <a:cubicBezTo>
                    <a:pt x="64" y="199"/>
                    <a:pt x="64" y="199"/>
                    <a:pt x="64" y="199"/>
                  </a:cubicBezTo>
                  <a:cubicBezTo>
                    <a:pt x="64" y="343"/>
                    <a:pt x="64" y="343"/>
                    <a:pt x="64" y="343"/>
                  </a:cubicBezTo>
                  <a:cubicBezTo>
                    <a:pt x="50" y="343"/>
                    <a:pt x="50" y="343"/>
                    <a:pt x="50" y="343"/>
                  </a:cubicBezTo>
                  <a:cubicBezTo>
                    <a:pt x="50" y="239"/>
                    <a:pt x="50" y="239"/>
                    <a:pt x="50" y="239"/>
                  </a:cubicBezTo>
                  <a:cubicBezTo>
                    <a:pt x="0" y="239"/>
                    <a:pt x="0" y="239"/>
                    <a:pt x="0" y="239"/>
                  </a:cubicBezTo>
                  <a:cubicBezTo>
                    <a:pt x="0" y="486"/>
                    <a:pt x="0" y="486"/>
                    <a:pt x="0" y="486"/>
                  </a:cubicBezTo>
                  <a:cubicBezTo>
                    <a:pt x="36" y="486"/>
                    <a:pt x="36" y="486"/>
                    <a:pt x="36" y="486"/>
                  </a:cubicBezTo>
                  <a:cubicBezTo>
                    <a:pt x="50" y="486"/>
                    <a:pt x="50" y="486"/>
                    <a:pt x="50" y="486"/>
                  </a:cubicBezTo>
                  <a:cubicBezTo>
                    <a:pt x="64" y="486"/>
                    <a:pt x="64" y="486"/>
                    <a:pt x="64" y="486"/>
                  </a:cubicBezTo>
                  <a:cubicBezTo>
                    <a:pt x="66" y="486"/>
                    <a:pt x="66" y="486"/>
                    <a:pt x="66" y="486"/>
                  </a:cubicBezTo>
                  <a:cubicBezTo>
                    <a:pt x="75" y="486"/>
                    <a:pt x="75" y="486"/>
                    <a:pt x="75" y="486"/>
                  </a:cubicBezTo>
                  <a:cubicBezTo>
                    <a:pt x="103" y="486"/>
                    <a:pt x="103" y="486"/>
                    <a:pt x="103" y="486"/>
                  </a:cubicBezTo>
                  <a:cubicBezTo>
                    <a:pt x="112" y="486"/>
                    <a:pt x="112" y="486"/>
                    <a:pt x="112" y="486"/>
                  </a:cubicBezTo>
                  <a:cubicBezTo>
                    <a:pt x="114" y="486"/>
                    <a:pt x="114" y="486"/>
                    <a:pt x="114" y="486"/>
                  </a:cubicBezTo>
                  <a:cubicBezTo>
                    <a:pt x="125" y="486"/>
                    <a:pt x="125" y="486"/>
                    <a:pt x="125" y="486"/>
                  </a:cubicBezTo>
                  <a:cubicBezTo>
                    <a:pt x="141" y="486"/>
                    <a:pt x="141" y="486"/>
                    <a:pt x="141" y="486"/>
                  </a:cubicBezTo>
                  <a:cubicBezTo>
                    <a:pt x="153" y="486"/>
                    <a:pt x="153" y="486"/>
                    <a:pt x="153" y="486"/>
                  </a:cubicBezTo>
                  <a:cubicBezTo>
                    <a:pt x="165" y="486"/>
                    <a:pt x="165" y="486"/>
                    <a:pt x="165" y="486"/>
                  </a:cubicBezTo>
                  <a:cubicBezTo>
                    <a:pt x="185" y="486"/>
                    <a:pt x="185" y="486"/>
                    <a:pt x="185" y="486"/>
                  </a:cubicBezTo>
                  <a:cubicBezTo>
                    <a:pt x="192" y="486"/>
                    <a:pt x="192" y="486"/>
                    <a:pt x="192" y="486"/>
                  </a:cubicBezTo>
                  <a:cubicBezTo>
                    <a:pt x="197" y="486"/>
                    <a:pt x="197" y="486"/>
                    <a:pt x="197" y="486"/>
                  </a:cubicBezTo>
                  <a:cubicBezTo>
                    <a:pt x="219" y="486"/>
                    <a:pt x="219" y="486"/>
                    <a:pt x="219" y="486"/>
                  </a:cubicBezTo>
                  <a:cubicBezTo>
                    <a:pt x="239" y="486"/>
                    <a:pt x="239" y="486"/>
                    <a:pt x="239" y="486"/>
                  </a:cubicBezTo>
                  <a:cubicBezTo>
                    <a:pt x="248" y="486"/>
                    <a:pt x="248" y="486"/>
                    <a:pt x="248" y="486"/>
                  </a:cubicBezTo>
                  <a:cubicBezTo>
                    <a:pt x="268" y="486"/>
                    <a:pt x="268" y="486"/>
                    <a:pt x="268" y="486"/>
                  </a:cubicBezTo>
                  <a:cubicBezTo>
                    <a:pt x="276" y="486"/>
                    <a:pt x="276" y="486"/>
                    <a:pt x="276" y="486"/>
                  </a:cubicBezTo>
                  <a:cubicBezTo>
                    <a:pt x="635" y="486"/>
                    <a:pt x="635" y="486"/>
                    <a:pt x="635" y="486"/>
                  </a:cubicBezTo>
                  <a:cubicBezTo>
                    <a:pt x="647" y="486"/>
                    <a:pt x="647" y="486"/>
                    <a:pt x="647" y="486"/>
                  </a:cubicBezTo>
                  <a:cubicBezTo>
                    <a:pt x="653" y="486"/>
                    <a:pt x="653" y="486"/>
                    <a:pt x="653" y="486"/>
                  </a:cubicBezTo>
                  <a:cubicBezTo>
                    <a:pt x="665" y="486"/>
                    <a:pt x="665" y="486"/>
                    <a:pt x="665" y="486"/>
                  </a:cubicBezTo>
                  <a:cubicBezTo>
                    <a:pt x="673" y="486"/>
                    <a:pt x="673" y="486"/>
                    <a:pt x="673" y="486"/>
                  </a:cubicBezTo>
                  <a:cubicBezTo>
                    <a:pt x="703" y="486"/>
                    <a:pt x="703" y="486"/>
                    <a:pt x="703" y="486"/>
                  </a:cubicBezTo>
                  <a:cubicBezTo>
                    <a:pt x="717" y="486"/>
                    <a:pt x="717" y="486"/>
                    <a:pt x="717" y="486"/>
                  </a:cubicBezTo>
                  <a:cubicBezTo>
                    <a:pt x="727" y="486"/>
                    <a:pt x="727" y="486"/>
                    <a:pt x="727" y="486"/>
                  </a:cubicBezTo>
                  <a:cubicBezTo>
                    <a:pt x="751" y="486"/>
                    <a:pt x="751" y="486"/>
                    <a:pt x="751" y="486"/>
                  </a:cubicBezTo>
                  <a:cubicBezTo>
                    <a:pt x="761" y="486"/>
                    <a:pt x="761" y="486"/>
                    <a:pt x="761" y="486"/>
                  </a:cubicBezTo>
                  <a:cubicBezTo>
                    <a:pt x="888" y="486"/>
                    <a:pt x="888" y="486"/>
                    <a:pt x="888" y="486"/>
                  </a:cubicBezTo>
                  <a:cubicBezTo>
                    <a:pt x="898" y="486"/>
                    <a:pt x="898" y="486"/>
                    <a:pt x="898" y="486"/>
                  </a:cubicBezTo>
                  <a:cubicBezTo>
                    <a:pt x="917" y="486"/>
                    <a:pt x="917" y="486"/>
                    <a:pt x="917" y="486"/>
                  </a:cubicBezTo>
                  <a:cubicBezTo>
                    <a:pt x="926" y="486"/>
                    <a:pt x="926" y="486"/>
                    <a:pt x="926" y="486"/>
                  </a:cubicBezTo>
                  <a:cubicBezTo>
                    <a:pt x="929" y="486"/>
                    <a:pt x="929" y="486"/>
                    <a:pt x="929" y="486"/>
                  </a:cubicBezTo>
                  <a:cubicBezTo>
                    <a:pt x="930" y="486"/>
                    <a:pt x="930" y="486"/>
                    <a:pt x="930" y="486"/>
                  </a:cubicBezTo>
                  <a:cubicBezTo>
                    <a:pt x="945" y="486"/>
                    <a:pt x="945" y="486"/>
                    <a:pt x="945" y="486"/>
                  </a:cubicBezTo>
                  <a:cubicBezTo>
                    <a:pt x="952" y="486"/>
                    <a:pt x="952" y="486"/>
                    <a:pt x="952" y="486"/>
                  </a:cubicBezTo>
                  <a:cubicBezTo>
                    <a:pt x="961" y="486"/>
                    <a:pt x="961" y="486"/>
                    <a:pt x="961" y="486"/>
                  </a:cubicBezTo>
                  <a:cubicBezTo>
                    <a:pt x="970" y="486"/>
                    <a:pt x="970" y="486"/>
                    <a:pt x="970" y="486"/>
                  </a:cubicBezTo>
                  <a:cubicBezTo>
                    <a:pt x="977" y="486"/>
                    <a:pt x="977" y="486"/>
                    <a:pt x="977" y="486"/>
                  </a:cubicBezTo>
                  <a:cubicBezTo>
                    <a:pt x="1087" y="486"/>
                    <a:pt x="1087" y="486"/>
                    <a:pt x="1087" y="486"/>
                  </a:cubicBezTo>
                  <a:cubicBezTo>
                    <a:pt x="1091" y="486"/>
                    <a:pt x="1091" y="486"/>
                    <a:pt x="1091" y="486"/>
                  </a:cubicBezTo>
                  <a:cubicBezTo>
                    <a:pt x="1143" y="486"/>
                    <a:pt x="1143" y="486"/>
                    <a:pt x="1143" y="486"/>
                  </a:cubicBezTo>
                  <a:cubicBezTo>
                    <a:pt x="1147" y="486"/>
                    <a:pt x="1147" y="486"/>
                    <a:pt x="1147" y="486"/>
                  </a:cubicBezTo>
                  <a:cubicBezTo>
                    <a:pt x="1183" y="486"/>
                    <a:pt x="1183" y="486"/>
                    <a:pt x="1183" y="486"/>
                  </a:cubicBezTo>
                  <a:cubicBezTo>
                    <a:pt x="1484" y="486"/>
                    <a:pt x="1484" y="486"/>
                    <a:pt x="1484" y="486"/>
                  </a:cubicBezTo>
                  <a:cubicBezTo>
                    <a:pt x="1491" y="486"/>
                    <a:pt x="1491" y="486"/>
                    <a:pt x="1491" y="486"/>
                  </a:cubicBezTo>
                  <a:cubicBezTo>
                    <a:pt x="1494" y="486"/>
                    <a:pt x="1494" y="486"/>
                    <a:pt x="1494" y="486"/>
                  </a:cubicBezTo>
                  <a:cubicBezTo>
                    <a:pt x="1514" y="486"/>
                    <a:pt x="1514" y="486"/>
                    <a:pt x="1514" y="486"/>
                  </a:cubicBezTo>
                  <a:cubicBezTo>
                    <a:pt x="1515" y="486"/>
                    <a:pt x="1515" y="486"/>
                    <a:pt x="1515" y="486"/>
                  </a:cubicBezTo>
                  <a:cubicBezTo>
                    <a:pt x="1524" y="486"/>
                    <a:pt x="1524" y="486"/>
                    <a:pt x="1524" y="486"/>
                  </a:cubicBezTo>
                  <a:cubicBezTo>
                    <a:pt x="1571" y="486"/>
                    <a:pt x="1571" y="486"/>
                    <a:pt x="1571" y="486"/>
                  </a:cubicBezTo>
                  <a:cubicBezTo>
                    <a:pt x="1603" y="486"/>
                    <a:pt x="1603" y="486"/>
                    <a:pt x="1603" y="486"/>
                  </a:cubicBezTo>
                  <a:cubicBezTo>
                    <a:pt x="1671" y="486"/>
                    <a:pt x="1671" y="486"/>
                    <a:pt x="1671" y="486"/>
                  </a:cubicBezTo>
                  <a:cubicBezTo>
                    <a:pt x="1671" y="78"/>
                    <a:pt x="1671" y="78"/>
                    <a:pt x="1671" y="78"/>
                  </a:cubicBezTo>
                  <a:lnTo>
                    <a:pt x="1607" y="78"/>
                  </a:lnTo>
                  <a:close/>
                  <a:moveTo>
                    <a:pt x="304" y="376"/>
                  </a:moveTo>
                  <a:cubicBezTo>
                    <a:pt x="281" y="376"/>
                    <a:pt x="281" y="376"/>
                    <a:pt x="281" y="376"/>
                  </a:cubicBezTo>
                  <a:cubicBezTo>
                    <a:pt x="281" y="369"/>
                    <a:pt x="281" y="369"/>
                    <a:pt x="281" y="369"/>
                  </a:cubicBezTo>
                  <a:cubicBezTo>
                    <a:pt x="304" y="369"/>
                    <a:pt x="304" y="369"/>
                    <a:pt x="304" y="369"/>
                  </a:cubicBezTo>
                  <a:lnTo>
                    <a:pt x="304" y="376"/>
                  </a:lnTo>
                  <a:close/>
                  <a:moveTo>
                    <a:pt x="304" y="365"/>
                  </a:moveTo>
                  <a:cubicBezTo>
                    <a:pt x="281" y="365"/>
                    <a:pt x="281" y="365"/>
                    <a:pt x="281" y="365"/>
                  </a:cubicBezTo>
                  <a:cubicBezTo>
                    <a:pt x="281" y="357"/>
                    <a:pt x="281" y="357"/>
                    <a:pt x="281" y="357"/>
                  </a:cubicBezTo>
                  <a:cubicBezTo>
                    <a:pt x="304" y="357"/>
                    <a:pt x="304" y="357"/>
                    <a:pt x="304" y="357"/>
                  </a:cubicBezTo>
                  <a:lnTo>
                    <a:pt x="304" y="365"/>
                  </a:lnTo>
                  <a:close/>
                  <a:moveTo>
                    <a:pt x="304" y="354"/>
                  </a:moveTo>
                  <a:cubicBezTo>
                    <a:pt x="281" y="354"/>
                    <a:pt x="281" y="354"/>
                    <a:pt x="281" y="354"/>
                  </a:cubicBezTo>
                  <a:cubicBezTo>
                    <a:pt x="281" y="346"/>
                    <a:pt x="281" y="346"/>
                    <a:pt x="281" y="346"/>
                  </a:cubicBezTo>
                  <a:cubicBezTo>
                    <a:pt x="304" y="346"/>
                    <a:pt x="304" y="346"/>
                    <a:pt x="304" y="346"/>
                  </a:cubicBezTo>
                  <a:lnTo>
                    <a:pt x="304" y="354"/>
                  </a:lnTo>
                  <a:close/>
                  <a:moveTo>
                    <a:pt x="334" y="376"/>
                  </a:moveTo>
                  <a:cubicBezTo>
                    <a:pt x="311" y="376"/>
                    <a:pt x="311" y="376"/>
                    <a:pt x="311" y="376"/>
                  </a:cubicBezTo>
                  <a:cubicBezTo>
                    <a:pt x="311" y="369"/>
                    <a:pt x="311" y="369"/>
                    <a:pt x="311" y="369"/>
                  </a:cubicBezTo>
                  <a:cubicBezTo>
                    <a:pt x="334" y="369"/>
                    <a:pt x="334" y="369"/>
                    <a:pt x="334" y="369"/>
                  </a:cubicBezTo>
                  <a:lnTo>
                    <a:pt x="334" y="376"/>
                  </a:lnTo>
                  <a:close/>
                  <a:moveTo>
                    <a:pt x="334" y="365"/>
                  </a:moveTo>
                  <a:cubicBezTo>
                    <a:pt x="311" y="365"/>
                    <a:pt x="311" y="365"/>
                    <a:pt x="311" y="365"/>
                  </a:cubicBezTo>
                  <a:cubicBezTo>
                    <a:pt x="311" y="357"/>
                    <a:pt x="311" y="357"/>
                    <a:pt x="311" y="357"/>
                  </a:cubicBezTo>
                  <a:cubicBezTo>
                    <a:pt x="334" y="357"/>
                    <a:pt x="334" y="357"/>
                    <a:pt x="334" y="357"/>
                  </a:cubicBezTo>
                  <a:lnTo>
                    <a:pt x="334" y="365"/>
                  </a:lnTo>
                  <a:close/>
                  <a:moveTo>
                    <a:pt x="334" y="354"/>
                  </a:moveTo>
                  <a:cubicBezTo>
                    <a:pt x="311" y="354"/>
                    <a:pt x="311" y="354"/>
                    <a:pt x="311" y="354"/>
                  </a:cubicBezTo>
                  <a:cubicBezTo>
                    <a:pt x="311" y="346"/>
                    <a:pt x="311" y="346"/>
                    <a:pt x="311" y="346"/>
                  </a:cubicBezTo>
                  <a:cubicBezTo>
                    <a:pt x="334" y="346"/>
                    <a:pt x="334" y="346"/>
                    <a:pt x="334" y="346"/>
                  </a:cubicBezTo>
                  <a:lnTo>
                    <a:pt x="334" y="354"/>
                  </a:lnTo>
                  <a:close/>
                  <a:moveTo>
                    <a:pt x="364" y="376"/>
                  </a:moveTo>
                  <a:cubicBezTo>
                    <a:pt x="341" y="376"/>
                    <a:pt x="341" y="376"/>
                    <a:pt x="341" y="376"/>
                  </a:cubicBezTo>
                  <a:cubicBezTo>
                    <a:pt x="341" y="369"/>
                    <a:pt x="341" y="369"/>
                    <a:pt x="341" y="369"/>
                  </a:cubicBezTo>
                  <a:cubicBezTo>
                    <a:pt x="364" y="369"/>
                    <a:pt x="364" y="369"/>
                    <a:pt x="364" y="369"/>
                  </a:cubicBezTo>
                  <a:lnTo>
                    <a:pt x="364" y="376"/>
                  </a:lnTo>
                  <a:close/>
                  <a:moveTo>
                    <a:pt x="364" y="365"/>
                  </a:moveTo>
                  <a:cubicBezTo>
                    <a:pt x="341" y="365"/>
                    <a:pt x="341" y="365"/>
                    <a:pt x="341" y="365"/>
                  </a:cubicBezTo>
                  <a:cubicBezTo>
                    <a:pt x="341" y="357"/>
                    <a:pt x="341" y="357"/>
                    <a:pt x="341" y="357"/>
                  </a:cubicBezTo>
                  <a:cubicBezTo>
                    <a:pt x="364" y="357"/>
                    <a:pt x="364" y="357"/>
                    <a:pt x="364" y="357"/>
                  </a:cubicBezTo>
                  <a:lnTo>
                    <a:pt x="364" y="365"/>
                  </a:lnTo>
                  <a:close/>
                  <a:moveTo>
                    <a:pt x="364" y="354"/>
                  </a:moveTo>
                  <a:cubicBezTo>
                    <a:pt x="341" y="354"/>
                    <a:pt x="341" y="354"/>
                    <a:pt x="341" y="354"/>
                  </a:cubicBezTo>
                  <a:cubicBezTo>
                    <a:pt x="341" y="346"/>
                    <a:pt x="341" y="346"/>
                    <a:pt x="341" y="346"/>
                  </a:cubicBezTo>
                  <a:cubicBezTo>
                    <a:pt x="364" y="346"/>
                    <a:pt x="364" y="346"/>
                    <a:pt x="364" y="346"/>
                  </a:cubicBezTo>
                  <a:lnTo>
                    <a:pt x="364" y="354"/>
                  </a:lnTo>
                  <a:close/>
                  <a:moveTo>
                    <a:pt x="447" y="376"/>
                  </a:moveTo>
                  <a:cubicBezTo>
                    <a:pt x="424" y="376"/>
                    <a:pt x="424" y="376"/>
                    <a:pt x="424" y="376"/>
                  </a:cubicBezTo>
                  <a:cubicBezTo>
                    <a:pt x="424" y="369"/>
                    <a:pt x="424" y="369"/>
                    <a:pt x="424" y="369"/>
                  </a:cubicBezTo>
                  <a:cubicBezTo>
                    <a:pt x="447" y="369"/>
                    <a:pt x="447" y="369"/>
                    <a:pt x="447" y="369"/>
                  </a:cubicBezTo>
                  <a:lnTo>
                    <a:pt x="447" y="376"/>
                  </a:lnTo>
                  <a:close/>
                  <a:moveTo>
                    <a:pt x="447" y="365"/>
                  </a:moveTo>
                  <a:cubicBezTo>
                    <a:pt x="424" y="365"/>
                    <a:pt x="424" y="365"/>
                    <a:pt x="424" y="365"/>
                  </a:cubicBezTo>
                  <a:cubicBezTo>
                    <a:pt x="424" y="357"/>
                    <a:pt x="424" y="357"/>
                    <a:pt x="424" y="357"/>
                  </a:cubicBezTo>
                  <a:cubicBezTo>
                    <a:pt x="447" y="357"/>
                    <a:pt x="447" y="357"/>
                    <a:pt x="447" y="357"/>
                  </a:cubicBezTo>
                  <a:lnTo>
                    <a:pt x="447" y="365"/>
                  </a:lnTo>
                  <a:close/>
                  <a:moveTo>
                    <a:pt x="447" y="354"/>
                  </a:moveTo>
                  <a:cubicBezTo>
                    <a:pt x="424" y="354"/>
                    <a:pt x="424" y="354"/>
                    <a:pt x="424" y="354"/>
                  </a:cubicBezTo>
                  <a:cubicBezTo>
                    <a:pt x="424" y="346"/>
                    <a:pt x="424" y="346"/>
                    <a:pt x="424" y="346"/>
                  </a:cubicBezTo>
                  <a:cubicBezTo>
                    <a:pt x="447" y="346"/>
                    <a:pt x="447" y="346"/>
                    <a:pt x="447" y="346"/>
                  </a:cubicBezTo>
                  <a:lnTo>
                    <a:pt x="447" y="354"/>
                  </a:lnTo>
                  <a:close/>
                  <a:moveTo>
                    <a:pt x="477" y="376"/>
                  </a:moveTo>
                  <a:cubicBezTo>
                    <a:pt x="454" y="376"/>
                    <a:pt x="454" y="376"/>
                    <a:pt x="454" y="376"/>
                  </a:cubicBezTo>
                  <a:cubicBezTo>
                    <a:pt x="454" y="369"/>
                    <a:pt x="454" y="369"/>
                    <a:pt x="454" y="369"/>
                  </a:cubicBezTo>
                  <a:cubicBezTo>
                    <a:pt x="477" y="369"/>
                    <a:pt x="477" y="369"/>
                    <a:pt x="477" y="369"/>
                  </a:cubicBezTo>
                  <a:lnTo>
                    <a:pt x="477" y="376"/>
                  </a:lnTo>
                  <a:close/>
                  <a:moveTo>
                    <a:pt x="477" y="365"/>
                  </a:moveTo>
                  <a:cubicBezTo>
                    <a:pt x="454" y="365"/>
                    <a:pt x="454" y="365"/>
                    <a:pt x="454" y="365"/>
                  </a:cubicBezTo>
                  <a:cubicBezTo>
                    <a:pt x="454" y="357"/>
                    <a:pt x="454" y="357"/>
                    <a:pt x="454" y="357"/>
                  </a:cubicBezTo>
                  <a:cubicBezTo>
                    <a:pt x="477" y="357"/>
                    <a:pt x="477" y="357"/>
                    <a:pt x="477" y="357"/>
                  </a:cubicBezTo>
                  <a:lnTo>
                    <a:pt x="477" y="365"/>
                  </a:lnTo>
                  <a:close/>
                  <a:moveTo>
                    <a:pt x="477" y="354"/>
                  </a:moveTo>
                  <a:cubicBezTo>
                    <a:pt x="454" y="354"/>
                    <a:pt x="454" y="354"/>
                    <a:pt x="454" y="354"/>
                  </a:cubicBezTo>
                  <a:cubicBezTo>
                    <a:pt x="454" y="346"/>
                    <a:pt x="454" y="346"/>
                    <a:pt x="454" y="346"/>
                  </a:cubicBezTo>
                  <a:cubicBezTo>
                    <a:pt x="477" y="346"/>
                    <a:pt x="477" y="346"/>
                    <a:pt x="477" y="346"/>
                  </a:cubicBezTo>
                  <a:lnTo>
                    <a:pt x="477" y="354"/>
                  </a:lnTo>
                  <a:close/>
                  <a:moveTo>
                    <a:pt x="507" y="376"/>
                  </a:moveTo>
                  <a:cubicBezTo>
                    <a:pt x="484" y="376"/>
                    <a:pt x="484" y="376"/>
                    <a:pt x="484" y="376"/>
                  </a:cubicBezTo>
                  <a:cubicBezTo>
                    <a:pt x="484" y="369"/>
                    <a:pt x="484" y="369"/>
                    <a:pt x="484" y="369"/>
                  </a:cubicBezTo>
                  <a:cubicBezTo>
                    <a:pt x="507" y="369"/>
                    <a:pt x="507" y="369"/>
                    <a:pt x="507" y="369"/>
                  </a:cubicBezTo>
                  <a:lnTo>
                    <a:pt x="507" y="376"/>
                  </a:lnTo>
                  <a:close/>
                  <a:moveTo>
                    <a:pt x="507" y="365"/>
                  </a:moveTo>
                  <a:cubicBezTo>
                    <a:pt x="484" y="365"/>
                    <a:pt x="484" y="365"/>
                    <a:pt x="484" y="365"/>
                  </a:cubicBezTo>
                  <a:cubicBezTo>
                    <a:pt x="484" y="357"/>
                    <a:pt x="484" y="357"/>
                    <a:pt x="484" y="357"/>
                  </a:cubicBezTo>
                  <a:cubicBezTo>
                    <a:pt x="507" y="357"/>
                    <a:pt x="507" y="357"/>
                    <a:pt x="507" y="357"/>
                  </a:cubicBezTo>
                  <a:lnTo>
                    <a:pt x="507" y="365"/>
                  </a:lnTo>
                  <a:close/>
                  <a:moveTo>
                    <a:pt x="507" y="354"/>
                  </a:moveTo>
                  <a:cubicBezTo>
                    <a:pt x="484" y="354"/>
                    <a:pt x="484" y="354"/>
                    <a:pt x="484" y="354"/>
                  </a:cubicBezTo>
                  <a:cubicBezTo>
                    <a:pt x="484" y="346"/>
                    <a:pt x="484" y="346"/>
                    <a:pt x="484" y="346"/>
                  </a:cubicBezTo>
                  <a:cubicBezTo>
                    <a:pt x="507" y="346"/>
                    <a:pt x="507" y="346"/>
                    <a:pt x="507" y="346"/>
                  </a:cubicBezTo>
                  <a:lnTo>
                    <a:pt x="507" y="354"/>
                  </a:lnTo>
                  <a:close/>
                  <a:moveTo>
                    <a:pt x="416" y="246"/>
                  </a:moveTo>
                  <a:cubicBezTo>
                    <a:pt x="551" y="224"/>
                    <a:pt x="641" y="326"/>
                    <a:pt x="641" y="326"/>
                  </a:cubicBezTo>
                  <a:cubicBezTo>
                    <a:pt x="511" y="326"/>
                    <a:pt x="511" y="326"/>
                    <a:pt x="511" y="326"/>
                  </a:cubicBezTo>
                  <a:cubicBezTo>
                    <a:pt x="482" y="263"/>
                    <a:pt x="416" y="246"/>
                    <a:pt x="416" y="246"/>
                  </a:cubicBezTo>
                  <a:close/>
                  <a:moveTo>
                    <a:pt x="590" y="376"/>
                  </a:moveTo>
                  <a:cubicBezTo>
                    <a:pt x="568" y="376"/>
                    <a:pt x="568" y="376"/>
                    <a:pt x="568" y="376"/>
                  </a:cubicBezTo>
                  <a:cubicBezTo>
                    <a:pt x="568" y="369"/>
                    <a:pt x="568" y="369"/>
                    <a:pt x="568" y="369"/>
                  </a:cubicBezTo>
                  <a:cubicBezTo>
                    <a:pt x="590" y="369"/>
                    <a:pt x="590" y="369"/>
                    <a:pt x="590" y="369"/>
                  </a:cubicBezTo>
                  <a:lnTo>
                    <a:pt x="590" y="376"/>
                  </a:lnTo>
                  <a:close/>
                  <a:moveTo>
                    <a:pt x="590" y="365"/>
                  </a:moveTo>
                  <a:cubicBezTo>
                    <a:pt x="568" y="365"/>
                    <a:pt x="568" y="365"/>
                    <a:pt x="568" y="365"/>
                  </a:cubicBezTo>
                  <a:cubicBezTo>
                    <a:pt x="568" y="357"/>
                    <a:pt x="568" y="357"/>
                    <a:pt x="568" y="357"/>
                  </a:cubicBezTo>
                  <a:cubicBezTo>
                    <a:pt x="590" y="357"/>
                    <a:pt x="590" y="357"/>
                    <a:pt x="590" y="357"/>
                  </a:cubicBezTo>
                  <a:lnTo>
                    <a:pt x="590" y="365"/>
                  </a:lnTo>
                  <a:close/>
                  <a:moveTo>
                    <a:pt x="590" y="354"/>
                  </a:moveTo>
                  <a:cubicBezTo>
                    <a:pt x="568" y="354"/>
                    <a:pt x="568" y="354"/>
                    <a:pt x="568" y="354"/>
                  </a:cubicBezTo>
                  <a:cubicBezTo>
                    <a:pt x="568" y="346"/>
                    <a:pt x="568" y="346"/>
                    <a:pt x="568" y="346"/>
                  </a:cubicBezTo>
                  <a:cubicBezTo>
                    <a:pt x="590" y="346"/>
                    <a:pt x="590" y="346"/>
                    <a:pt x="590" y="346"/>
                  </a:cubicBezTo>
                  <a:lnTo>
                    <a:pt x="590" y="354"/>
                  </a:lnTo>
                  <a:close/>
                  <a:moveTo>
                    <a:pt x="620" y="376"/>
                  </a:moveTo>
                  <a:cubicBezTo>
                    <a:pt x="598" y="376"/>
                    <a:pt x="598" y="376"/>
                    <a:pt x="598" y="376"/>
                  </a:cubicBezTo>
                  <a:cubicBezTo>
                    <a:pt x="598" y="369"/>
                    <a:pt x="598" y="369"/>
                    <a:pt x="598" y="369"/>
                  </a:cubicBezTo>
                  <a:cubicBezTo>
                    <a:pt x="620" y="369"/>
                    <a:pt x="620" y="369"/>
                    <a:pt x="620" y="369"/>
                  </a:cubicBezTo>
                  <a:lnTo>
                    <a:pt x="620" y="376"/>
                  </a:lnTo>
                  <a:close/>
                  <a:moveTo>
                    <a:pt x="620" y="365"/>
                  </a:moveTo>
                  <a:cubicBezTo>
                    <a:pt x="598" y="365"/>
                    <a:pt x="598" y="365"/>
                    <a:pt x="598" y="365"/>
                  </a:cubicBezTo>
                  <a:cubicBezTo>
                    <a:pt x="598" y="357"/>
                    <a:pt x="598" y="357"/>
                    <a:pt x="598" y="357"/>
                  </a:cubicBezTo>
                  <a:cubicBezTo>
                    <a:pt x="620" y="357"/>
                    <a:pt x="620" y="357"/>
                    <a:pt x="620" y="357"/>
                  </a:cubicBezTo>
                  <a:lnTo>
                    <a:pt x="620" y="365"/>
                  </a:lnTo>
                  <a:close/>
                  <a:moveTo>
                    <a:pt x="620" y="354"/>
                  </a:moveTo>
                  <a:cubicBezTo>
                    <a:pt x="598" y="354"/>
                    <a:pt x="598" y="354"/>
                    <a:pt x="598" y="354"/>
                  </a:cubicBezTo>
                  <a:cubicBezTo>
                    <a:pt x="598" y="346"/>
                    <a:pt x="598" y="346"/>
                    <a:pt x="598" y="346"/>
                  </a:cubicBezTo>
                  <a:cubicBezTo>
                    <a:pt x="620" y="346"/>
                    <a:pt x="620" y="346"/>
                    <a:pt x="620" y="346"/>
                  </a:cubicBezTo>
                  <a:lnTo>
                    <a:pt x="620" y="354"/>
                  </a:lnTo>
                  <a:close/>
                  <a:moveTo>
                    <a:pt x="650" y="376"/>
                  </a:moveTo>
                  <a:cubicBezTo>
                    <a:pt x="628" y="376"/>
                    <a:pt x="628" y="376"/>
                    <a:pt x="628" y="376"/>
                  </a:cubicBezTo>
                  <a:cubicBezTo>
                    <a:pt x="628" y="369"/>
                    <a:pt x="628" y="369"/>
                    <a:pt x="628" y="369"/>
                  </a:cubicBezTo>
                  <a:cubicBezTo>
                    <a:pt x="650" y="369"/>
                    <a:pt x="650" y="369"/>
                    <a:pt x="650" y="369"/>
                  </a:cubicBezTo>
                  <a:lnTo>
                    <a:pt x="650" y="376"/>
                  </a:lnTo>
                  <a:close/>
                  <a:moveTo>
                    <a:pt x="650" y="365"/>
                  </a:moveTo>
                  <a:cubicBezTo>
                    <a:pt x="628" y="365"/>
                    <a:pt x="628" y="365"/>
                    <a:pt x="628" y="365"/>
                  </a:cubicBezTo>
                  <a:cubicBezTo>
                    <a:pt x="628" y="357"/>
                    <a:pt x="628" y="357"/>
                    <a:pt x="628" y="357"/>
                  </a:cubicBezTo>
                  <a:cubicBezTo>
                    <a:pt x="650" y="357"/>
                    <a:pt x="650" y="357"/>
                    <a:pt x="650" y="357"/>
                  </a:cubicBezTo>
                  <a:lnTo>
                    <a:pt x="650" y="365"/>
                  </a:lnTo>
                  <a:close/>
                  <a:moveTo>
                    <a:pt x="650" y="354"/>
                  </a:moveTo>
                  <a:cubicBezTo>
                    <a:pt x="628" y="354"/>
                    <a:pt x="628" y="354"/>
                    <a:pt x="628" y="354"/>
                  </a:cubicBezTo>
                  <a:cubicBezTo>
                    <a:pt x="628" y="346"/>
                    <a:pt x="628" y="346"/>
                    <a:pt x="628" y="346"/>
                  </a:cubicBezTo>
                  <a:cubicBezTo>
                    <a:pt x="650" y="346"/>
                    <a:pt x="650" y="346"/>
                    <a:pt x="650" y="346"/>
                  </a:cubicBezTo>
                  <a:lnTo>
                    <a:pt x="650" y="35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568" dirty="0"/>
            </a:p>
          </p:txBody>
        </p:sp>
        <p:grpSp>
          <p:nvGrpSpPr>
            <p:cNvPr id="102" name="Group 101"/>
            <p:cNvGrpSpPr/>
            <p:nvPr userDrawn="1"/>
          </p:nvGrpSpPr>
          <p:grpSpPr>
            <a:xfrm>
              <a:off x="0" y="5397500"/>
              <a:ext cx="3292189" cy="1597025"/>
              <a:chOff x="0" y="5691798"/>
              <a:chExt cx="3292189" cy="1302727"/>
            </a:xfrm>
          </p:grpSpPr>
          <p:sp>
            <p:nvSpPr>
              <p:cNvPr id="94" name="Rectangle 93"/>
              <p:cNvSpPr/>
              <p:nvPr userDrawn="1"/>
            </p:nvSpPr>
            <p:spPr bwMode="auto">
              <a:xfrm>
                <a:off x="2560677" y="6148993"/>
                <a:ext cx="731512" cy="84553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a:solidFill>
                    <a:schemeClr val="tx1"/>
                  </a:solidFill>
                </a:endParaRPr>
              </a:p>
            </p:txBody>
          </p:sp>
          <p:sp>
            <p:nvSpPr>
              <p:cNvPr id="95" name="Rectangle 94"/>
              <p:cNvSpPr/>
              <p:nvPr userDrawn="1"/>
            </p:nvSpPr>
            <p:spPr bwMode="auto">
              <a:xfrm>
                <a:off x="2012043"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a:solidFill>
                    <a:schemeClr val="tx1"/>
                  </a:solidFill>
                </a:endParaRPr>
              </a:p>
            </p:txBody>
          </p:sp>
          <p:sp>
            <p:nvSpPr>
              <p:cNvPr id="96" name="Rectangle 95"/>
              <p:cNvSpPr/>
              <p:nvPr userDrawn="1"/>
            </p:nvSpPr>
            <p:spPr bwMode="auto">
              <a:xfrm>
                <a:off x="1554847" y="5691798"/>
                <a:ext cx="457195"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a:solidFill>
                    <a:schemeClr val="tx1"/>
                  </a:solidFill>
                </a:endParaRPr>
              </a:p>
            </p:txBody>
          </p:sp>
          <p:sp>
            <p:nvSpPr>
              <p:cNvPr id="97" name="Rectangle 96"/>
              <p:cNvSpPr/>
              <p:nvPr userDrawn="1"/>
            </p:nvSpPr>
            <p:spPr bwMode="auto">
              <a:xfrm>
                <a:off x="1097653" y="5966115"/>
                <a:ext cx="457195"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a:solidFill>
                    <a:schemeClr val="tx1"/>
                  </a:solidFill>
                </a:endParaRPr>
              </a:p>
            </p:txBody>
          </p:sp>
          <p:sp>
            <p:nvSpPr>
              <p:cNvPr id="98" name="Rectangle 97"/>
              <p:cNvSpPr/>
              <p:nvPr userDrawn="1"/>
            </p:nvSpPr>
            <p:spPr bwMode="auto">
              <a:xfrm>
                <a:off x="823336" y="5783263"/>
                <a:ext cx="274317" cy="121126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a:solidFill>
                    <a:schemeClr val="tx1"/>
                  </a:solidFill>
                </a:endParaRPr>
              </a:p>
            </p:txBody>
          </p:sp>
          <p:sp>
            <p:nvSpPr>
              <p:cNvPr id="99" name="Rectangle 98"/>
              <p:cNvSpPr/>
              <p:nvPr userDrawn="1"/>
            </p:nvSpPr>
            <p:spPr bwMode="auto">
              <a:xfrm>
                <a:off x="549019" y="5691798"/>
                <a:ext cx="274317"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a:solidFill>
                    <a:schemeClr val="tx1"/>
                  </a:solidFill>
                </a:endParaRPr>
              </a:p>
            </p:txBody>
          </p:sp>
          <p:sp>
            <p:nvSpPr>
              <p:cNvPr id="100" name="Rectangle 99"/>
              <p:cNvSpPr/>
              <p:nvPr userDrawn="1"/>
            </p:nvSpPr>
            <p:spPr bwMode="auto">
              <a:xfrm>
                <a:off x="0"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a:solidFill>
                    <a:schemeClr val="tx1"/>
                  </a:solidFill>
                </a:endParaRPr>
              </a:p>
            </p:txBody>
          </p:sp>
        </p:grpSp>
      </p:grpSp>
      <p:sp>
        <p:nvSpPr>
          <p:cNvPr id="3" name="TextBox 2"/>
          <p:cNvSpPr txBox="1"/>
          <p:nvPr userDrawn="1"/>
        </p:nvSpPr>
        <p:spPr>
          <a:xfrm>
            <a:off x="10418150" y="5950485"/>
            <a:ext cx="1504547" cy="615609"/>
          </a:xfrm>
          <a:prstGeom prst="rect">
            <a:avLst/>
          </a:prstGeom>
          <a:noFill/>
        </p:spPr>
        <p:txBody>
          <a:bodyPr wrap="none" lIns="179285" tIns="143428" rIns="179285" bIns="143428" rtlCol="0" anchor="b">
            <a:spAutoFit/>
          </a:bodyPr>
          <a:lstStyle/>
          <a:p>
            <a:pPr algn="r">
              <a:lnSpc>
                <a:spcPct val="90000"/>
              </a:lnSpc>
              <a:spcAft>
                <a:spcPts val="588"/>
              </a:spcAft>
            </a:pPr>
            <a:r>
              <a:rPr lang="en-US" sz="2353" dirty="0">
                <a:gradFill>
                  <a:gsLst>
                    <a:gs pos="2917">
                      <a:schemeClr val="tx1"/>
                    </a:gs>
                    <a:gs pos="30000">
                      <a:schemeClr val="tx1"/>
                    </a:gs>
                  </a:gsLst>
                  <a:lin ang="5400000" scaled="0"/>
                </a:gradFill>
              </a:rPr>
              <a:t>#WPC16</a:t>
            </a:r>
          </a:p>
        </p:txBody>
      </p:sp>
    </p:spTree>
    <p:extLst>
      <p:ext uri="{BB962C8B-B14F-4D97-AF65-F5344CB8AC3E}">
        <p14:creationId xmlns:p14="http://schemas.microsoft.com/office/powerpoint/2010/main" val="3505375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5" hasCustomPrompt="1"/>
          </p:nvPr>
        </p:nvSpPr>
        <p:spPr bwMode="invGray">
          <a:xfrm>
            <a:off x="9233488" y="855372"/>
            <a:ext cx="2689274" cy="567015"/>
          </a:xfrm>
        </p:spPr>
        <p:txBody>
          <a:bodyPr lIns="182880" tIns="146304" rIns="182880" bIns="146304" anchor="b"/>
          <a:lstStyle>
            <a:lvl1pPr marL="0" indent="0" algn="r">
              <a:buNone/>
              <a:defRPr sz="1961">
                <a:gradFill>
                  <a:gsLst>
                    <a:gs pos="14644">
                      <a:schemeClr val="tx1"/>
                    </a:gs>
                    <a:gs pos="37000">
                      <a:schemeClr val="tx1"/>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hashtag</a:t>
            </a:r>
          </a:p>
        </p:txBody>
      </p:sp>
      <p:sp>
        <p:nvSpPr>
          <p:cNvPr id="15" name="Text Placeholder 4"/>
          <p:cNvSpPr>
            <a:spLocks noGrp="1"/>
          </p:cNvSpPr>
          <p:nvPr>
            <p:ph type="body" sz="quarter" idx="16" hasCustomPrompt="1"/>
          </p:nvPr>
        </p:nvSpPr>
        <p:spPr>
          <a:xfrm>
            <a:off x="8785245" y="299807"/>
            <a:ext cx="3137517" cy="567015"/>
          </a:xfrm>
        </p:spPr>
        <p:txBody>
          <a:bodyPr lIns="182880" tIns="146304" rIns="182880" bIns="146304" anchor="t"/>
          <a:lstStyle>
            <a:lvl1pPr marL="0" indent="0" algn="r">
              <a:buNone/>
              <a:defRPr sz="1961" baseline="0">
                <a:gradFill>
                  <a:gsLst>
                    <a:gs pos="90377">
                      <a:srgbClr val="F8F8F8"/>
                    </a:gs>
                    <a:gs pos="72000">
                      <a:srgbClr val="F8F8F8"/>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Session code</a:t>
            </a:r>
          </a:p>
        </p:txBody>
      </p:sp>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4729"/>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56887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53616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35728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95069"/>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6" name="Rectangle 5"/>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8415447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631369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2255446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14420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52273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88193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87678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2505544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57667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auto">
          <a:xfrm>
            <a:off x="5198020" y="0"/>
            <a:ext cx="6993116"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36555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488565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7248458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899288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947667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Tree>
    <p:extLst>
      <p:ext uri="{BB962C8B-B14F-4D97-AF65-F5344CB8AC3E}">
        <p14:creationId xmlns:p14="http://schemas.microsoft.com/office/powerpoint/2010/main" val="220935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3128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6627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74591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2336762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76936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defTabSz="914367">
              <a:defRPr/>
            </a:pPr>
            <a:r>
              <a:rPr lang="en-US" sz="882" dirty="0"/>
              <a:t>Microsoft Confidential</a:t>
            </a: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lgn="r">
              <a:defRPr/>
            </a:pPr>
            <a:fld id="{F8A0AC42-AA1D-4944-8D96-660DE70C7E1B}" type="slidenum">
              <a:rPr lang="en-US" sz="882" smtClean="0"/>
              <a:pPr algn="r">
                <a:defRPr/>
              </a:pPr>
              <a:t>‹#›</a:t>
            </a:fld>
            <a:endParaRPr lang="en-US" sz="882" dirty="0"/>
          </a:p>
        </p:txBody>
      </p:sp>
    </p:spTree>
    <p:extLst>
      <p:ext uri="{BB962C8B-B14F-4D97-AF65-F5344CB8AC3E}">
        <p14:creationId xmlns:p14="http://schemas.microsoft.com/office/powerpoint/2010/main" val="42294799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21EFD8-0A7B-44AE-BC7B-4868FDA83592}" type="datetimeFigureOut">
              <a:rPr lang="en-US" smtClean="0">
                <a:solidFill>
                  <a:prstClr val="black">
                    <a:tint val="75000"/>
                  </a:prstClr>
                </a:solidFill>
              </a:rPr>
              <a:pPr/>
              <a:t>6/14/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FB46A10-5272-42DB-956B-2A12568BF81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4681802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66459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Black title">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0" y="1"/>
            <a:ext cx="12192000" cy="2618152"/>
          </a:xfr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91440" rIns="457200" bIns="91440" rtlCol="0" anchor="ctr"/>
          <a:lstStyle>
            <a:lvl1pPr>
              <a:defRPr lang="en-US" sz="4800">
                <a:solidFill>
                  <a:srgbClr val="EDC30D"/>
                </a:solidFill>
                <a:latin typeface="+mj-lt"/>
                <a:ea typeface="Segoe UI Black" panose="020B0A02040204020203" pitchFamily="34" charset="0"/>
                <a:cs typeface="Segoe UI Black" panose="020B0A02040204020203" pitchFamily="34" charset="0"/>
              </a:defRPr>
            </a:lvl1pPr>
          </a:lstStyle>
          <a:p>
            <a:pPr marL="0" lvl="0"/>
            <a:r>
              <a:rPr lang="en-US" dirty="0"/>
              <a:t>Click to edit Master title style</a:t>
            </a:r>
          </a:p>
        </p:txBody>
      </p:sp>
    </p:spTree>
    <p:extLst>
      <p:ext uri="{BB962C8B-B14F-4D97-AF65-F5344CB8AC3E}">
        <p14:creationId xmlns:p14="http://schemas.microsoft.com/office/powerpoint/2010/main" val="827686948"/>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6941045-DECA-3044-ADC3-FC486F65234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t="-1" r="67" b="15675"/>
          <a:stretch/>
        </p:blipFill>
        <p:spPr>
          <a:xfrm>
            <a:off x="0" y="-2858"/>
            <a:ext cx="12191999" cy="6858002"/>
          </a:xfrm>
          <a:prstGeom prst="rect">
            <a:avLst/>
          </a:prstGeom>
        </p:spPr>
      </p:pic>
      <p:sp>
        <p:nvSpPr>
          <p:cNvPr id="11" name="Rectangle 10">
            <a:extLst>
              <a:ext uri="{FF2B5EF4-FFF2-40B4-BE49-F238E27FC236}">
                <a16:creationId xmlns:a16="http://schemas.microsoft.com/office/drawing/2014/main" id="{9D05474F-0DDF-4941-8FAA-AC0197C22E6C}"/>
              </a:ext>
            </a:extLst>
          </p:cNvPr>
          <p:cNvSpPr/>
          <p:nvPr userDrawn="1"/>
        </p:nvSpPr>
        <p:spPr>
          <a:xfrm>
            <a:off x="-1" y="-2858"/>
            <a:ext cx="12191999" cy="6858000"/>
          </a:xfrm>
          <a:prstGeom prst="rect">
            <a:avLst/>
          </a:prstGeom>
          <a:gradFill flip="none" rotWithShape="1">
            <a:gsLst>
              <a:gs pos="26000">
                <a:srgbClr val="002060">
                  <a:alpha val="97000"/>
                </a:srgbClr>
              </a:gs>
              <a:gs pos="83000">
                <a:srgbClr val="002060">
                  <a:alpha val="0"/>
                </a:srgbClr>
              </a:gs>
            </a:gsLst>
            <a:lin ang="19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Tree>
    <p:extLst>
      <p:ext uri="{BB962C8B-B14F-4D97-AF65-F5344CB8AC3E}">
        <p14:creationId xmlns:p14="http://schemas.microsoft.com/office/powerpoint/2010/main" val="299359628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ver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22F64B4-0879-E645-A419-51EDF50D44B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97" t="1412" r="16744" b="29604"/>
          <a:stretch/>
        </p:blipFill>
        <p:spPr>
          <a:xfrm>
            <a:off x="1" y="0"/>
            <a:ext cx="12191999" cy="6858000"/>
          </a:xfrm>
          <a:prstGeom prst="rect">
            <a:avLst/>
          </a:prstGeom>
        </p:spPr>
      </p:pic>
      <p:pic>
        <p:nvPicPr>
          <p:cNvPr id="9" name="Picture 8">
            <a:extLst>
              <a:ext uri="{FF2B5EF4-FFF2-40B4-BE49-F238E27FC236}">
                <a16:creationId xmlns:a16="http://schemas.microsoft.com/office/drawing/2014/main" id="{D5B4B6E6-6B1A-5144-853E-482A028EC6F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497" t="1533" r="16744" b="29568"/>
          <a:stretch/>
        </p:blipFill>
        <p:spPr>
          <a:xfrm>
            <a:off x="-1" y="0"/>
            <a:ext cx="12192000" cy="6858000"/>
          </a:xfrm>
          <a:prstGeom prst="rect">
            <a:avLst/>
          </a:prstGeom>
        </p:spPr>
      </p:pic>
      <p:sp>
        <p:nvSpPr>
          <p:cNvPr id="10" name="Rectangle 9">
            <a:extLst>
              <a:ext uri="{FF2B5EF4-FFF2-40B4-BE49-F238E27FC236}">
                <a16:creationId xmlns:a16="http://schemas.microsoft.com/office/drawing/2014/main" id="{D1B69155-B552-2C4C-865F-BDB10711B3B6}"/>
              </a:ext>
            </a:extLst>
          </p:cNvPr>
          <p:cNvSpPr/>
          <p:nvPr userDrawn="1"/>
        </p:nvSpPr>
        <p:spPr>
          <a:xfrm>
            <a:off x="0" y="1"/>
            <a:ext cx="11601851" cy="6857999"/>
          </a:xfrm>
          <a:prstGeom prst="rect">
            <a:avLst/>
          </a:prstGeom>
          <a:gradFill flip="none" rotWithShape="1">
            <a:gsLst>
              <a:gs pos="0">
                <a:srgbClr val="002060"/>
              </a:gs>
              <a:gs pos="53000">
                <a:srgbClr val="002060">
                  <a:alpha val="0"/>
                </a:srgbClr>
              </a:gs>
            </a:gsLst>
            <a:lin ang="207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Tree>
    <p:extLst>
      <p:ext uri="{BB962C8B-B14F-4D97-AF65-F5344CB8AC3E}">
        <p14:creationId xmlns:p14="http://schemas.microsoft.com/office/powerpoint/2010/main" val="42400729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Note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E7E2B7D-0935-814F-BA03-018DB75CA846}"/>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l="20880" t="21938" r="8224" b="26644"/>
          <a:stretch/>
        </p:blipFill>
        <p:spPr>
          <a:xfrm>
            <a:off x="0" y="-1"/>
            <a:ext cx="12192000" cy="6858001"/>
          </a:xfrm>
          <a:prstGeom prst="rect">
            <a:avLst/>
          </a:prstGeom>
        </p:spPr>
      </p:pic>
    </p:spTree>
    <p:extLst>
      <p:ext uri="{BB962C8B-B14F-4D97-AF65-F5344CB8AC3E}">
        <p14:creationId xmlns:p14="http://schemas.microsoft.com/office/powerpoint/2010/main" val="152749099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6AE78F8-E2A5-4A4D-A833-12F794A87F7A}"/>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l="20881" t="21938" r="8224" b="26644"/>
          <a:stretch/>
        </p:blipFill>
        <p:spPr>
          <a:xfrm>
            <a:off x="-1" y="0"/>
            <a:ext cx="12192001" cy="6858000"/>
          </a:xfrm>
          <a:prstGeom prst="rect">
            <a:avLst/>
          </a:prstGeom>
        </p:spPr>
      </p:pic>
    </p:spTree>
    <p:extLst>
      <p:ext uri="{BB962C8B-B14F-4D97-AF65-F5344CB8AC3E}">
        <p14:creationId xmlns:p14="http://schemas.microsoft.com/office/powerpoint/2010/main" val="2119277123"/>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6" name="Picture 5" descr="A close up of a logo&#10;&#10;Description automatically generated">
            <a:extLst>
              <a:ext uri="{FF2B5EF4-FFF2-40B4-BE49-F238E27FC236}">
                <a16:creationId xmlns:a16="http://schemas.microsoft.com/office/drawing/2014/main" id="{888001E3-FB59-714E-957C-A2C570934901}"/>
              </a:ext>
            </a:extLst>
          </p:cNvPr>
          <p:cNvPicPr>
            <a:picLocks noChangeAspect="1"/>
          </p:cNvPicPr>
          <p:nvPr userDrawn="1"/>
        </p:nvPicPr>
        <p:blipFill rotWithShape="1">
          <a:blip r:embed="rId2">
            <a:alphaModFix amt="25000"/>
            <a:extLst>
              <a:ext uri="{28A0092B-C50C-407E-A947-70E740481C1C}">
                <a14:useLocalDpi xmlns:a14="http://schemas.microsoft.com/office/drawing/2010/main" val="0"/>
              </a:ext>
            </a:extLst>
          </a:blip>
          <a:srcRect t="32163" b="3403"/>
          <a:stretch/>
        </p:blipFill>
        <p:spPr>
          <a:xfrm>
            <a:off x="0" y="0"/>
            <a:ext cx="12192000" cy="6858000"/>
          </a:xfrm>
          <a:prstGeom prst="rect">
            <a:avLst/>
          </a:prstGeom>
        </p:spPr>
      </p:pic>
    </p:spTree>
    <p:extLst>
      <p:ext uri="{BB962C8B-B14F-4D97-AF65-F5344CB8AC3E}">
        <p14:creationId xmlns:p14="http://schemas.microsoft.com/office/powerpoint/2010/main" val="74174842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6" name="Picture 5" descr="A close up of a logo&#10;&#10;Description automatically generated">
            <a:extLst>
              <a:ext uri="{FF2B5EF4-FFF2-40B4-BE49-F238E27FC236}">
                <a16:creationId xmlns:a16="http://schemas.microsoft.com/office/drawing/2014/main" id="{888001E3-FB59-714E-957C-A2C570934901}"/>
              </a:ext>
            </a:extLst>
          </p:cNvPr>
          <p:cNvPicPr>
            <a:picLocks noChangeAspect="1"/>
          </p:cNvPicPr>
          <p:nvPr userDrawn="1"/>
        </p:nvPicPr>
        <p:blipFill rotWithShape="1">
          <a:blip r:embed="rId2">
            <a:alphaModFix amt="25000"/>
            <a:extLst>
              <a:ext uri="{28A0092B-C50C-407E-A947-70E740481C1C}">
                <a14:useLocalDpi xmlns:a14="http://schemas.microsoft.com/office/drawing/2010/main" val="0"/>
              </a:ext>
            </a:extLst>
          </a:blip>
          <a:srcRect t="32163" b="3403"/>
          <a:stretch/>
        </p:blipFill>
        <p:spPr>
          <a:xfrm>
            <a:off x="0" y="0"/>
            <a:ext cx="12192000" cy="6858000"/>
          </a:xfrm>
          <a:prstGeom prst="rect">
            <a:avLst/>
          </a:prstGeom>
        </p:spPr>
      </p:pic>
      <p:sp>
        <p:nvSpPr>
          <p:cNvPr id="5" name="Picture Placeholder 4">
            <a:extLst>
              <a:ext uri="{FF2B5EF4-FFF2-40B4-BE49-F238E27FC236}">
                <a16:creationId xmlns:a16="http://schemas.microsoft.com/office/drawing/2014/main" id="{5CAE8798-A058-DB46-B12E-370CB4A1402E}"/>
              </a:ext>
            </a:extLst>
          </p:cNvPr>
          <p:cNvSpPr>
            <a:spLocks noGrp="1"/>
          </p:cNvSpPr>
          <p:nvPr>
            <p:ph type="pic" sz="quarter" idx="10" hasCustomPrompt="1"/>
          </p:nvPr>
        </p:nvSpPr>
        <p:spPr>
          <a:xfrm>
            <a:off x="158750" y="98099"/>
            <a:ext cx="1255713" cy="658813"/>
          </a:xfrm>
        </p:spPr>
        <p:txBody>
          <a:bodyPr>
            <a:normAutofit/>
          </a:bodyPr>
          <a:lstStyle>
            <a:lvl1pPr>
              <a:defRPr sz="1200" b="0" i="0">
                <a:solidFill>
                  <a:schemeClr val="bg1"/>
                </a:solidFill>
                <a:latin typeface="Segoe UI Light" panose="020B0502040204020203" pitchFamily="34" charset="0"/>
                <a:cs typeface="Segoe UI Light" panose="020B0502040204020203" pitchFamily="34" charset="0"/>
              </a:defRPr>
            </a:lvl1pPr>
          </a:lstStyle>
          <a:p>
            <a:r>
              <a:rPr lang="tr-TR" dirty="0" err="1"/>
              <a:t>Insert</a:t>
            </a:r>
            <a:r>
              <a:rPr lang="tr-TR" dirty="0"/>
              <a:t> logo here</a:t>
            </a:r>
          </a:p>
        </p:txBody>
      </p:sp>
    </p:spTree>
    <p:extLst>
      <p:ext uri="{BB962C8B-B14F-4D97-AF65-F5344CB8AC3E}">
        <p14:creationId xmlns:p14="http://schemas.microsoft.com/office/powerpoint/2010/main" val="371894020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2"/>
            <a:ext cx="6276530" cy="875413"/>
          </a:xfrm>
          <a:noFill/>
        </p:spPr>
        <p:txBody>
          <a:bodyPr lIns="146304" tIns="91440" rIns="146304" bIns="91440" anchor="t" anchorCtr="0"/>
          <a:lstStyle>
            <a:lvl1pPr>
              <a:defRPr sz="5294"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6"/>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471037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3794107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1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4269" t="8966" r="10242" b="27585"/>
          <a:stretch/>
        </p:blipFill>
        <p:spPr>
          <a:xfrm>
            <a:off x="-29570" y="-7782"/>
            <a:ext cx="12251139" cy="6873565"/>
          </a:xfrm>
          <a:prstGeom prst="rect">
            <a:avLst/>
          </a:prstGeom>
        </p:spPr>
      </p:pic>
      <p:sp>
        <p:nvSpPr>
          <p:cNvPr id="6" name="Rectangle 5"/>
          <p:cNvSpPr/>
          <p:nvPr userDrawn="1"/>
        </p:nvSpPr>
        <p:spPr>
          <a:xfrm>
            <a:off x="-29569" y="0"/>
            <a:ext cx="5058771" cy="6858000"/>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14139"/>
            <a:endParaRPr lang="en-US" sz="1223" dirty="0">
              <a:solidFill>
                <a:srgbClr val="FFFFFF"/>
              </a:solidFill>
            </a:endParaRPr>
          </a:p>
        </p:txBody>
      </p:sp>
      <p:sp>
        <p:nvSpPr>
          <p:cNvPr id="9" name="Title 1"/>
          <p:cNvSpPr>
            <a:spLocks noGrp="1"/>
          </p:cNvSpPr>
          <p:nvPr>
            <p:ph type="title" hasCustomPrompt="1"/>
          </p:nvPr>
        </p:nvSpPr>
        <p:spPr bwMode="ltGray">
          <a:xfrm>
            <a:off x="270388" y="2395075"/>
            <a:ext cx="4633333" cy="1929181"/>
          </a:xfrm>
          <a:noFill/>
        </p:spPr>
        <p:txBody>
          <a:bodyPr vert="horz" lIns="137160" tIns="91440" rIns="91440" bIns="0" rtlCol="0" anchor="b" anchorCtr="0">
            <a:normAutofit/>
          </a:bodyPr>
          <a:lstStyle>
            <a:lvl1pPr marL="0" algn="l" defTabSz="1109518" rtl="0" eaLnBrk="1" latinLnBrk="0" hangingPunct="1">
              <a:lnSpc>
                <a:spcPct val="90000"/>
              </a:lnSpc>
              <a:spcBef>
                <a:spcPct val="0"/>
              </a:spcBef>
              <a:buNone/>
              <a:defRPr lang="en-US" sz="4895" b="0" kern="1200" cap="none" spc="-102" baseline="0" dirty="0">
                <a:solidFill>
                  <a:srgbClr val="FFB900"/>
                </a:solidFill>
                <a:latin typeface="+mn-lt"/>
                <a:ea typeface="Segoe UI Semibold" panose="020B0702040204020203" pitchFamily="34" charset="0"/>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303724" y="5670380"/>
            <a:ext cx="3784600" cy="889380"/>
          </a:xfrm>
        </p:spPr>
        <p:txBody>
          <a:bodyPr lIns="137160" tIns="91440" rIns="137160" bIns="137160" anchor="b">
            <a:noAutofit/>
          </a:bodyPr>
          <a:lstStyle>
            <a:lvl1pPr marL="0" indent="0" algn="l">
              <a:spcBef>
                <a:spcPts val="0"/>
              </a:spcBef>
              <a:buNone/>
              <a:defRPr sz="1427">
                <a:solidFill>
                  <a:schemeClr val="bg1"/>
                </a:solidFill>
              </a:defRPr>
            </a:lvl1pPr>
            <a:lvl2pPr marL="287218" indent="0">
              <a:buNone/>
              <a:defRPr sz="2040">
                <a:solidFill>
                  <a:schemeClr val="bg1"/>
                </a:solidFill>
              </a:defRPr>
            </a:lvl2pPr>
            <a:lvl3pPr marL="600055" indent="0">
              <a:buNone/>
              <a:defRPr sz="2040">
                <a:solidFill>
                  <a:schemeClr val="bg1"/>
                </a:solidFill>
              </a:defRPr>
            </a:lvl3pPr>
            <a:lvl4pPr marL="887274" indent="0">
              <a:buNone/>
              <a:defRPr sz="2040">
                <a:solidFill>
                  <a:schemeClr val="bg1"/>
                </a:solidFill>
              </a:defRPr>
            </a:lvl4pPr>
            <a:lvl5pPr marL="1127295" indent="0">
              <a:buNone/>
              <a:defRPr sz="2040">
                <a:solidFill>
                  <a:schemeClr val="bg1"/>
                </a:solidFill>
              </a:defRPr>
            </a:lvl5pPr>
          </a:lstStyle>
          <a:p>
            <a:pPr lvl="0"/>
            <a:r>
              <a:rPr lang="en-US" dirty="0"/>
              <a:t>Speaker Name</a:t>
            </a:r>
          </a:p>
          <a:p>
            <a:pPr lvl="0"/>
            <a:r>
              <a:rPr lang="en-US" dirty="0"/>
              <a:t>Dat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70387" y="224340"/>
            <a:ext cx="1737792" cy="639069"/>
          </a:xfrm>
          <a:prstGeom prst="rect">
            <a:avLst/>
          </a:prstGeom>
        </p:spPr>
      </p:pic>
    </p:spTree>
    <p:extLst>
      <p:ext uri="{BB962C8B-B14F-4D97-AF65-F5344CB8AC3E}">
        <p14:creationId xmlns:p14="http://schemas.microsoft.com/office/powerpoint/2010/main" val="3329253462"/>
      </p:ext>
    </p:extLst>
  </p:cSld>
  <p:clrMapOvr>
    <a:masterClrMapping/>
  </p:clrMapOvr>
  <p:transition>
    <p:fade/>
  </p:transition>
  <p:extLst>
    <p:ext uri="{DCECCB84-F9BA-43D5-87BE-67443E8EF086}">
      <p15:sldGuideLst xmlns:p15="http://schemas.microsoft.com/office/powerpoint/2012/main">
        <p15:guide id="1" pos="4127">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52197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4269" t="8966" r="10242" b="27585"/>
          <a:stretch/>
        </p:blipFill>
        <p:spPr>
          <a:xfrm>
            <a:off x="-29570" y="-7782"/>
            <a:ext cx="12251139" cy="6873565"/>
          </a:xfrm>
          <a:prstGeom prst="rect">
            <a:avLst/>
          </a:prstGeom>
        </p:spPr>
      </p:pic>
      <p:sp>
        <p:nvSpPr>
          <p:cNvPr id="6" name="Rectangle 5"/>
          <p:cNvSpPr/>
          <p:nvPr userDrawn="1"/>
        </p:nvSpPr>
        <p:spPr>
          <a:xfrm>
            <a:off x="1" y="0"/>
            <a:ext cx="5029201" cy="6858000"/>
          </a:xfrm>
          <a:prstGeom prst="rect">
            <a:avLst/>
          </a:prstGeom>
          <a:solidFill>
            <a:srgbClr val="0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914139"/>
            <a:endParaRPr lang="en-US" sz="1223" dirty="0">
              <a:solidFill>
                <a:srgbClr val="FFFFFF"/>
              </a:solidFill>
            </a:endParaRPr>
          </a:p>
        </p:txBody>
      </p:sp>
      <p:pic>
        <p:nvPicPr>
          <p:cNvPr id="26" name="Picture 2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70387" y="224340"/>
            <a:ext cx="1737792" cy="639069"/>
          </a:xfrm>
          <a:prstGeom prst="rect">
            <a:avLst/>
          </a:prstGeom>
        </p:spPr>
      </p:pic>
      <p:sp>
        <p:nvSpPr>
          <p:cNvPr id="7" name="Title 1"/>
          <p:cNvSpPr>
            <a:spLocks noGrp="1"/>
          </p:cNvSpPr>
          <p:nvPr>
            <p:ph type="title" hasCustomPrompt="1"/>
          </p:nvPr>
        </p:nvSpPr>
        <p:spPr bwMode="ltGray">
          <a:xfrm>
            <a:off x="270388" y="2395075"/>
            <a:ext cx="4633333" cy="1929181"/>
          </a:xfrm>
          <a:noFill/>
        </p:spPr>
        <p:txBody>
          <a:bodyPr vert="horz" lIns="137160" tIns="91440" rIns="91440" bIns="0" rtlCol="0" anchor="b" anchorCtr="0">
            <a:normAutofit/>
          </a:bodyPr>
          <a:lstStyle>
            <a:lvl1pPr marL="0" algn="l" defTabSz="1109518" rtl="0" eaLnBrk="1" latinLnBrk="0" hangingPunct="1">
              <a:lnSpc>
                <a:spcPct val="90000"/>
              </a:lnSpc>
              <a:spcBef>
                <a:spcPct val="0"/>
              </a:spcBef>
              <a:buNone/>
              <a:defRPr lang="en-US" sz="4895" b="0" kern="1200" cap="none" spc="-102" baseline="0" dirty="0">
                <a:solidFill>
                  <a:srgbClr val="FFB900"/>
                </a:solidFill>
                <a:latin typeface="+mn-lt"/>
                <a:ea typeface="Segoe UI Semibold" panose="020B0702040204020203" pitchFamily="34" charset="0"/>
                <a:cs typeface="Segoe UI Semibold" panose="020B0702040204020203" pitchFamily="34" charset="0"/>
              </a:defRPr>
            </a:lvl1pPr>
          </a:lstStyle>
          <a:p>
            <a:pPr lvl="0"/>
            <a:r>
              <a:rPr lang="en-US" dirty="0"/>
              <a:t>Presentation Title</a:t>
            </a:r>
          </a:p>
        </p:txBody>
      </p:sp>
      <p:sp>
        <p:nvSpPr>
          <p:cNvPr id="8" name="Text Placeholder 3"/>
          <p:cNvSpPr>
            <a:spLocks noGrp="1"/>
          </p:cNvSpPr>
          <p:nvPr>
            <p:ph type="body" sz="quarter" idx="10" hasCustomPrompt="1"/>
          </p:nvPr>
        </p:nvSpPr>
        <p:spPr>
          <a:xfrm>
            <a:off x="303724" y="5670380"/>
            <a:ext cx="3784600" cy="889380"/>
          </a:xfrm>
        </p:spPr>
        <p:txBody>
          <a:bodyPr lIns="137160" tIns="91440" rIns="137160" bIns="137160" anchor="b">
            <a:noAutofit/>
          </a:bodyPr>
          <a:lstStyle>
            <a:lvl1pPr marL="0" indent="0" algn="l">
              <a:spcBef>
                <a:spcPts val="0"/>
              </a:spcBef>
              <a:buNone/>
              <a:defRPr sz="1427">
                <a:solidFill>
                  <a:schemeClr val="bg1"/>
                </a:solidFill>
              </a:defRPr>
            </a:lvl1pPr>
            <a:lvl2pPr marL="287218" indent="0">
              <a:buNone/>
              <a:defRPr sz="2040">
                <a:solidFill>
                  <a:schemeClr val="bg1"/>
                </a:solidFill>
              </a:defRPr>
            </a:lvl2pPr>
            <a:lvl3pPr marL="600055" indent="0">
              <a:buNone/>
              <a:defRPr sz="2040">
                <a:solidFill>
                  <a:schemeClr val="bg1"/>
                </a:solidFill>
              </a:defRPr>
            </a:lvl3pPr>
            <a:lvl4pPr marL="887274" indent="0">
              <a:buNone/>
              <a:defRPr sz="2040">
                <a:solidFill>
                  <a:schemeClr val="bg1"/>
                </a:solidFill>
              </a:defRPr>
            </a:lvl4pPr>
            <a:lvl5pPr marL="1127295" indent="0">
              <a:buNone/>
              <a:defRPr sz="2040">
                <a:solidFill>
                  <a:schemeClr val="bg1"/>
                </a:solidFill>
              </a:defRPr>
            </a:lvl5pPr>
          </a:lstStyle>
          <a:p>
            <a:pPr lvl="0"/>
            <a:r>
              <a:rPr lang="en-US" dirty="0"/>
              <a:t>Speaker Name</a:t>
            </a:r>
          </a:p>
          <a:p>
            <a:pPr lvl="0"/>
            <a:r>
              <a:rPr lang="en-US" dirty="0"/>
              <a:t>Date</a:t>
            </a:r>
          </a:p>
        </p:txBody>
      </p:sp>
    </p:spTree>
    <p:extLst>
      <p:ext uri="{BB962C8B-B14F-4D97-AF65-F5344CB8AC3E}">
        <p14:creationId xmlns:p14="http://schemas.microsoft.com/office/powerpoint/2010/main" val="1404204086"/>
      </p:ext>
    </p:extLst>
  </p:cSld>
  <p:clrMapOvr>
    <a:masterClrMapping/>
  </p:clrMapOvr>
  <p:transition>
    <p:fade/>
  </p:transition>
  <p:extLst>
    <p:ext uri="{DCECCB84-F9BA-43D5-87BE-67443E8EF086}">
      <p15:sldGuideLst xmlns:p15="http://schemas.microsoft.com/office/powerpoint/2012/main">
        <p15:guide id="1" pos="4127">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14481" t="11148" r="5121" b="21028"/>
          <a:stretch/>
        </p:blipFill>
        <p:spPr>
          <a:xfrm>
            <a:off x="0" y="0"/>
            <a:ext cx="12192000" cy="6865782"/>
          </a:xfrm>
          <a:prstGeom prst="rect">
            <a:avLst/>
          </a:prstGeom>
        </p:spPr>
      </p:pic>
      <p:sp>
        <p:nvSpPr>
          <p:cNvPr id="12" name="Rectangle 11"/>
          <p:cNvSpPr/>
          <p:nvPr userDrawn="1"/>
        </p:nvSpPr>
        <p:spPr bwMode="auto">
          <a:xfrm rot="10800000">
            <a:off x="-1" y="3883079"/>
            <a:ext cx="12192000" cy="3009831"/>
          </a:xfrm>
          <a:prstGeom prst="rect">
            <a:avLst/>
          </a:prstGeom>
          <a:gradFill flip="none" rotWithShape="1">
            <a:gsLst>
              <a:gs pos="0">
                <a:schemeClr val="bg2">
                  <a:lumMod val="10000"/>
                  <a:alpha val="60000"/>
                </a:schemeClr>
              </a:gs>
              <a:gs pos="53000">
                <a:schemeClr val="bg2">
                  <a:lumMod val="10000"/>
                  <a:alpha val="0"/>
                </a:schemeClr>
              </a:gs>
            </a:gsLst>
            <a:lin ang="4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4773829"/>
            <a:ext cx="8067824" cy="179310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96403" y="4773828"/>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96404" y="5745801"/>
            <a:ext cx="8040659" cy="628548"/>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354017" y="6084311"/>
            <a:ext cx="1737792" cy="639069"/>
          </a:xfrm>
          <a:prstGeom prst="rect">
            <a:avLst/>
          </a:prstGeom>
        </p:spPr>
      </p:pic>
    </p:spTree>
    <p:extLst>
      <p:ext uri="{BB962C8B-B14F-4D97-AF65-F5344CB8AC3E}">
        <p14:creationId xmlns:p14="http://schemas.microsoft.com/office/powerpoint/2010/main" val="1031157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grayscl/>
            <a:extLst>
              <a:ext uri="{28A0092B-C50C-407E-A947-70E740481C1C}">
                <a14:useLocalDpi xmlns:a14="http://schemas.microsoft.com/office/drawing/2010/main" val="0"/>
              </a:ext>
            </a:extLst>
          </a:blip>
          <a:srcRect l="14481" t="11148" r="5121" b="21028"/>
          <a:stretch/>
        </p:blipFill>
        <p:spPr>
          <a:xfrm>
            <a:off x="0" y="0"/>
            <a:ext cx="12192000" cy="6865782"/>
          </a:xfrm>
          <a:prstGeom prst="rect">
            <a:avLst/>
          </a:prstGeom>
        </p:spPr>
      </p:pic>
      <p:sp>
        <p:nvSpPr>
          <p:cNvPr id="8" name="Rectangle 7"/>
          <p:cNvSpPr/>
          <p:nvPr userDrawn="1"/>
        </p:nvSpPr>
        <p:spPr bwMode="auto">
          <a:xfrm rot="10800000">
            <a:off x="-1" y="3883079"/>
            <a:ext cx="12192000" cy="3009831"/>
          </a:xfrm>
          <a:prstGeom prst="rect">
            <a:avLst/>
          </a:prstGeom>
          <a:gradFill flip="none" rotWithShape="1">
            <a:gsLst>
              <a:gs pos="0">
                <a:schemeClr val="bg2">
                  <a:lumMod val="10000"/>
                  <a:alpha val="60000"/>
                </a:schemeClr>
              </a:gs>
              <a:gs pos="53000">
                <a:schemeClr val="bg2">
                  <a:lumMod val="10000"/>
                  <a:alpha val="0"/>
                </a:schemeClr>
              </a:gs>
            </a:gsLst>
            <a:lin ang="4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4" hasCustomPrompt="1"/>
          </p:nvPr>
        </p:nvSpPr>
        <p:spPr bwMode="auto">
          <a:xfrm>
            <a:off x="296404" y="5745801"/>
            <a:ext cx="8040659" cy="628548"/>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354017" y="6084311"/>
            <a:ext cx="1737792" cy="639069"/>
          </a:xfrm>
          <a:prstGeom prst="rect">
            <a:avLst/>
          </a:prstGeom>
        </p:spPr>
      </p:pic>
      <p:sp>
        <p:nvSpPr>
          <p:cNvPr id="14" name="Rectangle 13"/>
          <p:cNvSpPr/>
          <p:nvPr userDrawn="1"/>
        </p:nvSpPr>
        <p:spPr bwMode="auto">
          <a:xfrm>
            <a:off x="269239" y="4773829"/>
            <a:ext cx="8067824" cy="179310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96403" y="4787297"/>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Tree>
    <p:extLst>
      <p:ext uri="{BB962C8B-B14F-4D97-AF65-F5344CB8AC3E}">
        <p14:creationId xmlns:p14="http://schemas.microsoft.com/office/powerpoint/2010/main" val="2642821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13319910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6256910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4421379"/>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9551080"/>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7804230"/>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9234738"/>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728016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55707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999545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749281"/>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14756413"/>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226474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65543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92280448"/>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283553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26192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694807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6661429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64208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929698"/>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9721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2225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59474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652438"/>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325269599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39998722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815735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8773193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4589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337726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99795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p>
            <a:r>
              <a:rPr>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3755430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8054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4439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181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030" fontAlgn="base">
              <a:spcBef>
                <a:spcPct val="0"/>
              </a:spcBef>
              <a:spcAft>
                <a:spcPct val="0"/>
              </a:spcAft>
            </a:pPr>
            <a:endParaRPr lang="en-US" sz="2206">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4373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5" y="0"/>
            <a:ext cx="12191377" cy="6858623"/>
          </a:xfrm>
          <a:prstGeom prst="rect">
            <a:avLst/>
          </a:prstGeom>
        </p:spPr>
      </p:pic>
      <p:sp>
        <p:nvSpPr>
          <p:cNvPr id="6" name="Rectangle 5"/>
          <p:cNvSpPr/>
          <p:nvPr userDrawn="1"/>
        </p:nvSpPr>
        <p:spPr bwMode="gray">
          <a:xfrm>
            <a:off x="0"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3" y="6171616"/>
            <a:ext cx="4482123"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algn="r" defTabSz="913850" eaLnBrk="0" hangingPunct="0"/>
            <a:r>
              <a:rPr lang="en-US" sz="686">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3" y="5471928"/>
            <a:ext cx="3227129" cy="687975"/>
          </a:xfrm>
          <a:prstGeom prst="rect">
            <a:avLst/>
          </a:prstGeom>
        </p:spPr>
      </p:pic>
    </p:spTree>
    <p:extLst>
      <p:ext uri="{BB962C8B-B14F-4D97-AF65-F5344CB8AC3E}">
        <p14:creationId xmlns:p14="http://schemas.microsoft.com/office/powerpoint/2010/main" val="4182309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67" indent="-284767">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96" indent="-27543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64" indent="-284767">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43" indent="-22407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21" indent="-22407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628482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048755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45601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Blank Color 1 Layout">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5" cy="1399832"/>
          </a:xfrm>
        </p:spPr>
        <p:txBody>
          <a:bodyPr/>
          <a:lstStyle>
            <a:lvl1pPr marL="0" indent="0">
              <a:buNone/>
              <a:defRPr sz="8798" i="0" spc="-100" baseline="0">
                <a:gradFill>
                  <a:gsLst>
                    <a:gs pos="0">
                      <a:schemeClr val="tx1"/>
                    </a:gs>
                    <a:gs pos="100000">
                      <a:schemeClr val="tx1"/>
                    </a:gs>
                  </a:gsLst>
                  <a:lin ang="5400000" scaled="0"/>
                </a:gradFill>
                <a:latin typeface="Segoe UI Light" pitchFamily="34" charset="0"/>
              </a:defRPr>
            </a:lvl1pPr>
          </a:lstStyle>
          <a:p>
            <a:pPr lvl="0"/>
            <a:r>
              <a:rPr lang="en-US"/>
              <a:t>Click to edit title style</a:t>
            </a:r>
          </a:p>
        </p:txBody>
      </p:sp>
      <p:pic>
        <p:nvPicPr>
          <p:cNvPr id="3" name="Picture 2" descr="Microsoft logo and tagline"/>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10123378" y="6307016"/>
            <a:ext cx="1870134" cy="314448"/>
          </a:xfrm>
          <a:prstGeom prst="rect">
            <a:avLst/>
          </a:prstGeom>
          <a:noFill/>
          <a:ln>
            <a:noFill/>
          </a:ln>
        </p:spPr>
      </p:pic>
      <p:sp>
        <p:nvSpPr>
          <p:cNvPr id="4" name="Text Placeholder 8"/>
          <p:cNvSpPr>
            <a:spLocks noGrp="1"/>
          </p:cNvSpPr>
          <p:nvPr>
            <p:ph type="body" sz="quarter" idx="11" hasCustomPrompt="1"/>
          </p:nvPr>
        </p:nvSpPr>
        <p:spPr>
          <a:xfrm>
            <a:off x="512896" y="3219166"/>
            <a:ext cx="7515595" cy="636777"/>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188" rtl="0" eaLnBrk="1" latinLnBrk="0" hangingPunct="1">
              <a:lnSpc>
                <a:spcPct val="90000"/>
              </a:lnSpc>
              <a:spcBef>
                <a:spcPct val="20000"/>
              </a:spcBef>
              <a:buSzPct val="90000"/>
              <a:buFont typeface="Arial" pitchFamily="34" charset="0"/>
              <a:buNone/>
            </a:pPr>
            <a:r>
              <a:rPr lang="en-US"/>
              <a:t>Speaker Title</a:t>
            </a:r>
          </a:p>
        </p:txBody>
      </p:sp>
    </p:spTree>
    <p:extLst>
      <p:ext uri="{BB962C8B-B14F-4D97-AF65-F5344CB8AC3E}">
        <p14:creationId xmlns:p14="http://schemas.microsoft.com/office/powerpoint/2010/main" val="139212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pPr defTabSz="914367"/>
            <a:fld id="{B5953AD0-7361-4755-9F16-790BE48104A3}" type="datetimeFigureOut">
              <a:rPr lang="en-US" smtClean="0">
                <a:solidFill>
                  <a:srgbClr val="FFFFFF"/>
                </a:solidFill>
              </a:rPr>
              <a:pPr defTabSz="914367"/>
              <a:t>6/14/2021</a:t>
            </a:fld>
            <a:endParaRPr lang="en-US">
              <a:solidFill>
                <a:srgbClr val="FFFFFF"/>
              </a:solidFill>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pPr defTabSz="914367"/>
            <a:endParaRPr lang="en-US">
              <a:solidFill>
                <a:srgbClr val="FFFFFF"/>
              </a:solidFill>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pPr defTabSz="914367"/>
            <a:fld id="{5B3722D1-D77E-41ED-9FC0-BA6608D9DD8F}" type="slidenum">
              <a:rPr lang="en-US" smtClean="0">
                <a:solidFill>
                  <a:srgbClr val="FFFFFF"/>
                </a:solidFill>
              </a:rPr>
              <a:pPr defTabSz="914367"/>
              <a:t>‹#›</a:t>
            </a:fld>
            <a:endParaRPr lang="en-US">
              <a:solidFill>
                <a:srgbClr val="FFFFFF"/>
              </a:solidFill>
            </a:endParaRPr>
          </a:p>
        </p:txBody>
      </p:sp>
    </p:spTree>
    <p:extLst>
      <p:ext uri="{BB962C8B-B14F-4D97-AF65-F5344CB8AC3E}">
        <p14:creationId xmlns:p14="http://schemas.microsoft.com/office/powerpoint/2010/main" val="1517781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66814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675330852"/>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091085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9545831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534349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482241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6609038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pic>
        <p:nvPicPr>
          <p:cNvPr id="5" name="Picture 4"/>
          <p:cNvPicPr>
            <a:picLocks noChangeAspect="1"/>
          </p:cNvPicPr>
          <p:nvPr userDrawn="1"/>
        </p:nvPicPr>
        <p:blipFill>
          <a:blip r:embed="rId2"/>
          <a:stretch>
            <a:fillRect/>
          </a:stretch>
        </p:blipFill>
        <p:spPr>
          <a:xfrm>
            <a:off x="0" y="3727850"/>
            <a:ext cx="12192000" cy="2930682"/>
          </a:xfrm>
          <a:prstGeom prst="rect">
            <a:avLst/>
          </a:prstGeom>
        </p:spPr>
      </p:pic>
    </p:spTree>
    <p:extLst>
      <p:ext uri="{BB962C8B-B14F-4D97-AF65-F5344CB8AC3E}">
        <p14:creationId xmlns:p14="http://schemas.microsoft.com/office/powerpoint/2010/main" val="42206049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29946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amp;A">
    <p:bg>
      <p:bgPr>
        <a:solidFill>
          <a:schemeClr val="bg2"/>
        </a:solidFill>
        <a:effectLst/>
      </p:bgPr>
    </p:bg>
    <p:spTree>
      <p:nvGrpSpPr>
        <p:cNvPr id="1" name=""/>
        <p:cNvGrpSpPr/>
        <p:nvPr/>
      </p:nvGrpSpPr>
      <p:grpSpPr>
        <a:xfrm>
          <a:off x="0" y="0"/>
          <a:ext cx="0" cy="0"/>
          <a:chOff x="0" y="0"/>
          <a:chExt cx="0" cy="0"/>
        </a:xfrm>
      </p:grpSpPr>
      <p:sp>
        <p:nvSpPr>
          <p:cNvPr id="3" name="Title 3"/>
          <p:cNvSpPr txBox="1">
            <a:spLocks/>
          </p:cNvSpPr>
          <p:nvPr userDrawn="1"/>
        </p:nvSpPr>
        <p:spPr>
          <a:xfrm>
            <a:off x="269239" y="1337653"/>
            <a:ext cx="11653523" cy="1796217"/>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11273"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Q&amp;A</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1486654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5332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a:t>Click to edit Master title style: second line</a:t>
            </a:r>
          </a:p>
        </p:txBody>
      </p:sp>
      <p:sp>
        <p:nvSpPr>
          <p:cNvPr id="7" name="Text Placeholder 5"/>
          <p:cNvSpPr>
            <a:spLocks noGrp="1"/>
          </p:cNvSpPr>
          <p:nvPr>
            <p:ph type="body" sz="quarter" idx="10"/>
          </p:nvPr>
        </p:nvSpPr>
        <p:spPr>
          <a:xfrm>
            <a:off x="2974849" y="1897702"/>
            <a:ext cx="9106244"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2400">
                <a:latin typeface="+mj-lt"/>
              </a:defRPr>
            </a:lvl2pPr>
            <a:lvl3pPr marL="548535" indent="-182845">
              <a:buFont typeface="Arial" panose="020B0604020202020204" pitchFamily="34" charset="0"/>
              <a:buChar char="•"/>
              <a:defRPr sz="20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a:solidFill>
                  <a:srgbClr val="FFFFFF"/>
                </a:solidFill>
                <a:latin typeface="Segoe UI Light"/>
              </a:rPr>
              <a:t>Feature</a:t>
            </a:r>
          </a:p>
        </p:txBody>
      </p:sp>
    </p:spTree>
    <p:extLst>
      <p:ext uri="{BB962C8B-B14F-4D97-AF65-F5344CB8AC3E}">
        <p14:creationId xmlns:p14="http://schemas.microsoft.com/office/powerpoint/2010/main" val="3442160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8121257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9"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7171399"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3083763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7811791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7" y="289512"/>
            <a:ext cx="9108056" cy="1503593"/>
          </a:xfrm>
        </p:spPr>
        <p:txBody>
          <a:bodyPr/>
          <a:lstStyle>
            <a:lvl1pPr>
              <a:defRPr baseline="0"/>
            </a:lvl1pPr>
          </a:lstStyle>
          <a:p>
            <a:r>
              <a:rPr lang="en-US"/>
              <a:t>Click to edit Master title style: second line</a:t>
            </a:r>
          </a:p>
        </p:txBody>
      </p:sp>
      <p:sp>
        <p:nvSpPr>
          <p:cNvPr id="7" name="Text Placeholder 5"/>
          <p:cNvSpPr>
            <a:spLocks noGrp="1"/>
          </p:cNvSpPr>
          <p:nvPr>
            <p:ph type="body" sz="quarter" idx="10"/>
          </p:nvPr>
        </p:nvSpPr>
        <p:spPr>
          <a:xfrm>
            <a:off x="2974849" y="1897703"/>
            <a:ext cx="9106244" cy="1469113"/>
          </a:xfrm>
        </p:spPr>
        <p:txBody>
          <a:bodyPr/>
          <a:lstStyle>
            <a:lvl1pPr marL="182810" indent="-182810">
              <a:buFont typeface="Arial" panose="020B0604020202020204" pitchFamily="34" charset="0"/>
              <a:buChar char="•"/>
              <a:defRPr>
                <a:gradFill>
                  <a:gsLst>
                    <a:gs pos="1250">
                      <a:schemeClr val="tx2"/>
                    </a:gs>
                    <a:gs pos="99000">
                      <a:schemeClr val="tx2"/>
                    </a:gs>
                  </a:gsLst>
                  <a:lin ang="5400000" scaled="0"/>
                </a:gradFill>
                <a:latin typeface="+mj-lt"/>
              </a:defRPr>
            </a:lvl1pPr>
            <a:lvl2pPr marL="365620" indent="-182810">
              <a:buFont typeface="Arial" panose="020B0604020202020204" pitchFamily="34" charset="0"/>
              <a:buChar char="•"/>
              <a:defRPr sz="2400">
                <a:latin typeface="+mj-lt"/>
              </a:defRPr>
            </a:lvl2pPr>
            <a:lvl3pPr marL="548430" indent="-182810">
              <a:buFont typeface="Arial" panose="020B0604020202020204" pitchFamily="34" charset="0"/>
              <a:buChar char="•"/>
              <a:defRPr sz="2000">
                <a:latin typeface="+mj-lt"/>
              </a:defRPr>
            </a:lvl3pPr>
            <a:lvl4pPr marL="733661" indent="-285640">
              <a:buFont typeface="Arial" panose="020B0604020202020204" pitchFamily="34" charset="0"/>
              <a:buChar char="•"/>
              <a:defRPr/>
            </a:lvl4pPr>
            <a:lvl5pPr marL="957672" indent="-28564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p:txBody>
      </p:sp>
      <p:sp>
        <p:nvSpPr>
          <p:cNvPr id="4" name="TextBox 3"/>
          <p:cNvSpPr txBox="1"/>
          <p:nvPr userDrawn="1"/>
        </p:nvSpPr>
        <p:spPr>
          <a:xfrm>
            <a:off x="2152302" y="589830"/>
            <a:ext cx="1319321" cy="622056"/>
          </a:xfrm>
          <a:prstGeom prst="rect">
            <a:avLst/>
          </a:prstGeom>
          <a:noFill/>
        </p:spPr>
        <p:txBody>
          <a:bodyPr wrap="none" lIns="179259" tIns="143407" rIns="179259" bIns="143407" rtlCol="0">
            <a:spAutoFit/>
          </a:bodyPr>
          <a:lstStyle/>
          <a:p>
            <a:pPr algn="r" defTabSz="914192">
              <a:lnSpc>
                <a:spcPct val="90000"/>
              </a:lnSpc>
              <a:spcAft>
                <a:spcPts val="588"/>
              </a:spcAft>
            </a:pPr>
            <a:r>
              <a:rPr lang="en-US" sz="2353">
                <a:solidFill>
                  <a:srgbClr val="FFFFFF"/>
                </a:solidFill>
                <a:latin typeface="Segoe UI Light"/>
              </a:rPr>
              <a:t>Feature</a:t>
            </a:r>
          </a:p>
        </p:txBody>
      </p:sp>
    </p:spTree>
    <p:extLst>
      <p:ext uri="{BB962C8B-B14F-4D97-AF65-F5344CB8AC3E}">
        <p14:creationId xmlns:p14="http://schemas.microsoft.com/office/powerpoint/2010/main" val="1613316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09390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Presentation Title">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404634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odule Title">
    <p:bg>
      <p:bgPr>
        <a:solidFill>
          <a:srgbClr val="EDC30D"/>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1488557" y="1117590"/>
            <a:ext cx="10408581" cy="1655108"/>
          </a:xfrm>
        </p:spPr>
        <p:txBody>
          <a:bodyPr anchor="b"/>
          <a:lstStyle>
            <a:lvl1pPr indent="0">
              <a:defRPr sz="4800">
                <a:solidFill>
                  <a:schemeClr val="tx1"/>
                </a:solidFill>
                <a:latin typeface="Segoe UI Semibold" panose="020B0702040204020203" pitchFamily="34" charset="0"/>
                <a:cs typeface="Segoe UI Semibold" panose="020B0702040204020203" pitchFamily="34" charset="0"/>
              </a:defRPr>
            </a:lvl1pPr>
          </a:lstStyle>
          <a:p>
            <a:r>
              <a:rPr lang="en-US"/>
              <a:t>Module title</a:t>
            </a:r>
          </a:p>
        </p:txBody>
      </p:sp>
      <p:sp>
        <p:nvSpPr>
          <p:cNvPr id="9" name="Text Placeholder 8"/>
          <p:cNvSpPr>
            <a:spLocks noGrp="1"/>
          </p:cNvSpPr>
          <p:nvPr>
            <p:ph type="body" sz="quarter" idx="10" hasCustomPrompt="1"/>
          </p:nvPr>
        </p:nvSpPr>
        <p:spPr>
          <a:xfrm>
            <a:off x="1488558" y="3178512"/>
            <a:ext cx="10408580" cy="3679487"/>
          </a:xfrm>
        </p:spPr>
        <p:txBody>
          <a:bodyPr>
            <a:normAutofit/>
          </a:bodyPr>
          <a:lstStyle>
            <a:lvl1pPr marL="354013" indent="-354013">
              <a:buFont typeface="Wingdings" panose="05000000000000000000" pitchFamily="2" charset="2"/>
              <a:buChar char="§"/>
              <a:defRPr sz="3200">
                <a:solidFill>
                  <a:srgbClr val="EDC30D"/>
                </a:solidFill>
              </a:defRPr>
            </a:lvl1pPr>
          </a:lstStyle>
          <a:p>
            <a:pPr lvl="0"/>
            <a:r>
              <a:rPr lang="en-US"/>
              <a:t>Module content</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162296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cSld name="Blank">
    <p:bg>
      <p:bgPr>
        <a:solidFill>
          <a:srgbClr val="EDC30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69871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5804999" y="562219"/>
            <a:ext cx="498040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624428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9636440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a:t>Click to edit Master title style: second line</a:t>
            </a:r>
          </a:p>
        </p:txBody>
      </p:sp>
      <p:sp>
        <p:nvSpPr>
          <p:cNvPr id="7" name="Text Placeholder 5"/>
          <p:cNvSpPr>
            <a:spLocks noGrp="1"/>
          </p:cNvSpPr>
          <p:nvPr>
            <p:ph type="body" sz="quarter" idx="10"/>
          </p:nvPr>
        </p:nvSpPr>
        <p:spPr>
          <a:xfrm>
            <a:off x="2974849" y="1897702"/>
            <a:ext cx="4969616"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406400" indent="-182563">
              <a:buFont typeface="Segoe UI Light" panose="020B0502040204020203" pitchFamily="34" charset="0"/>
              <a:buChar char="−"/>
              <a:defRPr sz="3200">
                <a:latin typeface="+mj-lt"/>
              </a:defRPr>
            </a:lvl2pPr>
            <a:lvl3pPr marL="635000" indent="-182563">
              <a:buFont typeface="Courier New" panose="02070309020205020404" pitchFamily="49" charset="0"/>
              <a:buChar char="o"/>
              <a:defRPr sz="28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a:solidFill>
                  <a:srgbClr val="FFFFFF"/>
                </a:solidFill>
                <a:latin typeface="Segoe UI Light"/>
              </a:rPr>
              <a:t>Feature</a:t>
            </a:r>
          </a:p>
        </p:txBody>
      </p:sp>
      <p:sp>
        <p:nvSpPr>
          <p:cNvPr id="5" name="Picture Placeholder 6"/>
          <p:cNvSpPr>
            <a:spLocks noGrp="1"/>
          </p:cNvSpPr>
          <p:nvPr>
            <p:ph type="pic" sz="quarter" idx="12" hasCustomPrompt="1"/>
          </p:nvPr>
        </p:nvSpPr>
        <p:spPr>
          <a:xfrm>
            <a:off x="8096277" y="2376546"/>
            <a:ext cx="3492285" cy="3893625"/>
          </a:xfrm>
          <a:ln w="152400">
            <a:noFill/>
          </a:ln>
        </p:spPr>
        <p:txBody>
          <a:bodyPr/>
          <a:lstStyle>
            <a:lvl1pPr marL="0" indent="0">
              <a:buNone/>
              <a:defRPr>
                <a:solidFill>
                  <a:schemeClr val="accent1"/>
                </a:solidFill>
              </a:defRPr>
            </a:lvl1pPr>
          </a:lstStyle>
          <a:p>
            <a:r>
              <a:rPr lang="en-US"/>
              <a:t>Screen shot or image here</a:t>
            </a:r>
          </a:p>
        </p:txBody>
      </p:sp>
    </p:spTree>
    <p:extLst>
      <p:ext uri="{BB962C8B-B14F-4D97-AF65-F5344CB8AC3E}">
        <p14:creationId xmlns:p14="http://schemas.microsoft.com/office/powerpoint/2010/main" val="119601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2" name="Rectangle 15"/>
          <p:cNvSpPr/>
          <p:nvPr userDrawn="1"/>
        </p:nvSpPr>
        <p:spPr bwMode="auto">
          <a:xfrm>
            <a:off x="883" y="993"/>
            <a:ext cx="404139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23986032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2" name="Rectangle 15"/>
          <p:cNvSpPr/>
          <p:nvPr userDrawn="1"/>
        </p:nvSpPr>
        <p:spPr bwMode="auto">
          <a:xfrm>
            <a:off x="884" y="993"/>
            <a:ext cx="2836909"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967747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2" name="Rectangle 15"/>
          <p:cNvSpPr/>
          <p:nvPr userDrawn="1"/>
        </p:nvSpPr>
        <p:spPr bwMode="auto">
          <a:xfrm>
            <a:off x="884" y="993"/>
            <a:ext cx="2836909"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hasCustomPrompt="1"/>
          </p:nvPr>
        </p:nvSpPr>
        <p:spPr>
          <a:xfrm>
            <a:off x="2920181" y="226332"/>
            <a:ext cx="9202993" cy="956908"/>
          </a:xfrm>
        </p:spPr>
        <p:txBody>
          <a:bodyPr lIns="180000" anchor="t"/>
          <a:lstStyle>
            <a:lvl1pPr algn="l">
              <a:defRPr sz="3600">
                <a:solidFill>
                  <a:srgbClr val="000000"/>
                </a:solidFill>
                <a:latin typeface="Segoe UI Light (Headings)"/>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318365480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9" name="Rectangle 15"/>
          <p:cNvSpPr/>
          <p:nvPr userDrawn="1"/>
        </p:nvSpPr>
        <p:spPr bwMode="auto">
          <a:xfrm>
            <a:off x="883" y="993"/>
            <a:ext cx="404139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4493436" y="266655"/>
            <a:ext cx="729216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162351452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395921162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
        <p:nvSpPr>
          <p:cNvPr id="6"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02017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9519" t="25612" r="71112" b="37624"/>
          <a:stretch/>
        </p:blipFill>
        <p:spPr>
          <a:xfrm>
            <a:off x="-1131532" y="-156880"/>
            <a:ext cx="15074250" cy="7153284"/>
          </a:xfrm>
          <a:prstGeom prst="rect">
            <a:avLst/>
          </a:prstGeom>
        </p:spPr>
      </p:pic>
      <p:sp>
        <p:nvSpPr>
          <p:cNvPr id="2" name="Title 1"/>
          <p:cNvSpPr>
            <a:spLocks noGrp="1"/>
          </p:cNvSpPr>
          <p:nvPr>
            <p:ph type="title"/>
          </p:nvPr>
        </p:nvSpPr>
        <p:spPr>
          <a:xfrm>
            <a:off x="838200" y="2160674"/>
            <a:ext cx="10515600" cy="1325563"/>
          </a:xfrm>
        </p:spPr>
        <p:txBody>
          <a:bodyPr/>
          <a:lstStyle>
            <a:lvl1pPr>
              <a:defRPr lang="en-US" sz="9000" kern="1200" dirty="0">
                <a:solidFill>
                  <a:srgbClr val="F2C811"/>
                </a:solidFill>
                <a:latin typeface="Segoe UI Light" panose="020B0502040204020203" pitchFamily="34" charset="0"/>
                <a:ea typeface="Segoe UI Black" panose="020B0A02040204020203" pitchFamily="34" charset="0"/>
                <a:cs typeface="Segoe UI Light"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65870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60000"/>
            <a:ext cx="11655840" cy="720000"/>
          </a:xfrm>
        </p:spPr>
        <p:txBody>
          <a:bodyPr lIns="180000"/>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a:t>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343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Takeaways">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9141" y="360000"/>
            <a:ext cx="10805938" cy="720000"/>
          </a:xfrm>
        </p:spPr>
        <p:txBody>
          <a:bodyPr/>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a:t>Second level</a:t>
            </a:r>
          </a:p>
          <a:p>
            <a:pPr lvl="2"/>
            <a:r>
              <a:rPr lang="en-US"/>
              <a:t>Third level</a:t>
            </a:r>
          </a:p>
          <a:p>
            <a:pPr lvl="3"/>
            <a:r>
              <a:rPr lang="en-US"/>
              <a:t>Fourth level</a:t>
            </a:r>
          </a:p>
          <a:p>
            <a:pPr lvl="4"/>
            <a:r>
              <a:rPr lang="en-US"/>
              <a:t>Fifth level</a:t>
            </a:r>
          </a:p>
        </p:txBody>
      </p:sp>
      <p:sp>
        <p:nvSpPr>
          <p:cNvPr id="9" name="Freeform 88"/>
          <p:cNvSpPr>
            <a:spLocks noEditPoints="1"/>
          </p:cNvSpPr>
          <p:nvPr userDrawn="1"/>
        </p:nvSpPr>
        <p:spPr bwMode="auto">
          <a:xfrm>
            <a:off x="467833" y="360000"/>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981307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Opportunities">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43897" y="360000"/>
            <a:ext cx="10981182" cy="720000"/>
          </a:xfrm>
        </p:spPr>
        <p:txBody>
          <a:bodyPr/>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a:t>Second level</a:t>
            </a:r>
          </a:p>
          <a:p>
            <a:pPr lvl="2"/>
            <a:r>
              <a:rPr lang="en-US"/>
              <a:t>Third level</a:t>
            </a:r>
          </a:p>
          <a:p>
            <a:pPr lvl="3"/>
            <a:r>
              <a:rPr lang="en-US"/>
              <a:t>Fourth level</a:t>
            </a:r>
          </a:p>
          <a:p>
            <a:pPr lvl="4"/>
            <a:r>
              <a:rPr lang="en-US"/>
              <a:t>Fifth level</a:t>
            </a:r>
          </a:p>
        </p:txBody>
      </p:sp>
      <p:sp>
        <p:nvSpPr>
          <p:cNvPr id="7" name="Freeform 13"/>
          <p:cNvSpPr>
            <a:spLocks noEditPoints="1"/>
          </p:cNvSpPr>
          <p:nvPr userDrawn="1"/>
        </p:nvSpPr>
        <p:spPr bwMode="auto">
          <a:xfrm>
            <a:off x="455749" y="365275"/>
            <a:ext cx="350279" cy="645825"/>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ysClr val="windowText" lastClr="000000"/>
              </a:solidFill>
            </a:endParaRPr>
          </a:p>
        </p:txBody>
      </p:sp>
    </p:spTree>
    <p:extLst>
      <p:ext uri="{BB962C8B-B14F-4D97-AF65-F5344CB8AC3E}">
        <p14:creationId xmlns:p14="http://schemas.microsoft.com/office/powerpoint/2010/main" val="3106485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Text Placeholder 5"/>
          <p:cNvSpPr>
            <a:spLocks noGrp="1"/>
          </p:cNvSpPr>
          <p:nvPr>
            <p:ph type="body" sz="quarter" idx="10"/>
          </p:nvPr>
        </p:nvSpPr>
        <p:spPr>
          <a:xfrm>
            <a:off x="269240" y="1867817"/>
            <a:ext cx="11653523" cy="4662292"/>
          </a:xfrm>
        </p:spPr>
        <p:txBody>
          <a:bodyPr/>
          <a:lstStyle>
            <a:lvl1pPr marL="182845" indent="-182845">
              <a:buFont typeface="Arial" panose="020B0604020202020204" pitchFamily="34" charset="0"/>
              <a:buChar char="•"/>
              <a:defRPr sz="3137">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1961">
                <a:latin typeface="+mj-lt"/>
              </a:defRPr>
            </a:lvl2pPr>
            <a:lvl3pPr marL="548535" indent="-182845">
              <a:buFont typeface="Arial" panose="020B0604020202020204" pitchFamily="34" charset="0"/>
              <a:buChar char="•"/>
              <a:defRPr sz="1765">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p:txBody>
      </p:sp>
      <p:sp>
        <p:nvSpPr>
          <p:cNvPr id="2" name="TextBox 1"/>
          <p:cNvSpPr txBox="1"/>
          <p:nvPr userDrawn="1"/>
        </p:nvSpPr>
        <p:spPr>
          <a:xfrm>
            <a:off x="269241" y="1189176"/>
            <a:ext cx="362135" cy="615609"/>
          </a:xfrm>
          <a:prstGeom prst="rect">
            <a:avLst/>
          </a:prstGeom>
          <a:noFill/>
        </p:spPr>
        <p:txBody>
          <a:bodyPr wrap="none" lIns="179285" tIns="143428" rIns="179285" bIns="143428" rtlCol="0">
            <a:spAutoFit/>
          </a:bodyPr>
          <a:lstStyle/>
          <a:p>
            <a:pPr defTabSz="914367">
              <a:lnSpc>
                <a:spcPct val="90000"/>
              </a:lnSpc>
              <a:spcAft>
                <a:spcPts val="588"/>
              </a:spcAft>
            </a:pPr>
            <a:endParaRPr lang="en-US" sz="2353" err="1">
              <a:gradFill>
                <a:gsLst>
                  <a:gs pos="2917">
                    <a:srgbClr val="000000"/>
                  </a:gs>
                  <a:gs pos="30000">
                    <a:srgbClr val="000000"/>
                  </a:gs>
                </a:gsLst>
                <a:lin ang="5400000" scaled="0"/>
              </a:gradFill>
            </a:endParaRPr>
          </a:p>
        </p:txBody>
      </p:sp>
      <p:sp>
        <p:nvSpPr>
          <p:cNvPr id="8" name="Text Placeholder 7"/>
          <p:cNvSpPr>
            <a:spLocks noGrp="1"/>
          </p:cNvSpPr>
          <p:nvPr>
            <p:ph type="body" sz="quarter" idx="11" hasCustomPrompt="1"/>
          </p:nvPr>
        </p:nvSpPr>
        <p:spPr>
          <a:xfrm>
            <a:off x="269240" y="1220691"/>
            <a:ext cx="11653523" cy="615609"/>
          </a:xfrm>
        </p:spPr>
        <p:txBody>
          <a:bodyPr/>
          <a:lstStyle>
            <a:lvl1pPr marL="0" indent="0">
              <a:buNone/>
              <a:defRPr sz="3137"/>
            </a:lvl1pPr>
            <a:lvl2pPr>
              <a:defRPr sz="1765"/>
            </a:lvl2pPr>
            <a:lvl3pPr>
              <a:defRPr sz="1568"/>
            </a:lvl3pPr>
            <a:lvl4pPr>
              <a:defRPr sz="1372"/>
            </a:lvl4pPr>
            <a:lvl5pPr>
              <a:defRPr sz="1372"/>
            </a:lvl5pPr>
          </a:lstStyle>
          <a:p>
            <a:pPr lvl="0"/>
            <a:r>
              <a:rPr lang="en-US"/>
              <a:t>Subtitle</a:t>
            </a:r>
          </a:p>
        </p:txBody>
      </p:sp>
    </p:spTree>
    <p:extLst>
      <p:ext uri="{BB962C8B-B14F-4D97-AF65-F5344CB8AC3E}">
        <p14:creationId xmlns:p14="http://schemas.microsoft.com/office/powerpoint/2010/main" val="613812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Resources">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4478" y="360000"/>
            <a:ext cx="10810601" cy="720000"/>
          </a:xfrm>
        </p:spPr>
        <p:txBody>
          <a:bodyPr/>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a:t>Slide content</a:t>
            </a:r>
          </a:p>
          <a:p>
            <a:pPr lvl="1"/>
            <a:r>
              <a:rPr lang="en-US"/>
              <a:t>Second level</a:t>
            </a:r>
          </a:p>
          <a:p>
            <a:pPr lvl="2"/>
            <a:r>
              <a:rPr lang="en-US"/>
              <a:t>Third level</a:t>
            </a:r>
          </a:p>
          <a:p>
            <a:pPr lvl="3"/>
            <a:r>
              <a:rPr lang="en-US"/>
              <a:t>Fourth level</a:t>
            </a:r>
          </a:p>
          <a:p>
            <a:pPr lvl="4"/>
            <a:r>
              <a:rPr lang="en-US"/>
              <a:t>Fifth level</a:t>
            </a:r>
          </a:p>
        </p:txBody>
      </p:sp>
      <p:sp>
        <p:nvSpPr>
          <p:cNvPr id="9" name="Freeform 72"/>
          <p:cNvSpPr>
            <a:spLocks noEditPoints="1"/>
          </p:cNvSpPr>
          <p:nvPr userDrawn="1"/>
        </p:nvSpPr>
        <p:spPr bwMode="auto">
          <a:xfrm>
            <a:off x="467833" y="360000"/>
            <a:ext cx="646645" cy="647978"/>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408114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mo">
    <p:bg bwMode="auto">
      <p:bgPr>
        <a:solidFill>
          <a:srgbClr val="EDC30D"/>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a:t>Demo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a:gradFill>
                  <a:gsLst>
                    <a:gs pos="2917">
                      <a:schemeClr val="tx1"/>
                    </a:gs>
                    <a:gs pos="30000">
                      <a:schemeClr val="tx1"/>
                    </a:gs>
                  </a:gsLst>
                  <a:lin ang="5400000" scaled="0"/>
                </a:gradFill>
              </a:rPr>
              <a:t>Demonstration</a:t>
            </a:r>
            <a:endParaRPr lang="en-US" sz="240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a:t>Demo code</a:t>
            </a:r>
          </a:p>
        </p:txBody>
      </p:sp>
      <p:sp>
        <p:nvSpPr>
          <p:cNvPr id="10" name="Text Placeholder 9"/>
          <p:cNvSpPr>
            <a:spLocks noGrp="1"/>
          </p:cNvSpPr>
          <p:nvPr>
            <p:ph type="body" sz="quarter" idx="11" hasCustomPrompt="1"/>
          </p:nvPr>
        </p:nvSpPr>
        <p:spPr>
          <a:xfrm>
            <a:off x="467833" y="3594100"/>
            <a:ext cx="11355571"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a:t>Demo description</a:t>
            </a:r>
          </a:p>
        </p:txBody>
      </p:sp>
      <p:sp>
        <p:nvSpPr>
          <p:cNvPr id="11" name="Freeform 74"/>
          <p:cNvSpPr>
            <a:spLocks noEditPoints="1"/>
          </p:cNvSpPr>
          <p:nvPr userDrawn="1"/>
        </p:nvSpPr>
        <p:spPr bwMode="auto">
          <a:xfrm>
            <a:off x="467832" y="317061"/>
            <a:ext cx="646645" cy="649310"/>
          </a:xfrm>
          <a:custGeom>
            <a:avLst/>
            <a:gdLst>
              <a:gd name="T0" fmla="*/ 404 w 411"/>
              <a:gd name="T1" fmla="*/ 0 h 413"/>
              <a:gd name="T2" fmla="*/ 7 w 411"/>
              <a:gd name="T3" fmla="*/ 0 h 413"/>
              <a:gd name="T4" fmla="*/ 0 w 411"/>
              <a:gd name="T5" fmla="*/ 7 h 413"/>
              <a:gd name="T6" fmla="*/ 0 w 411"/>
              <a:gd name="T7" fmla="*/ 338 h 413"/>
              <a:gd name="T8" fmla="*/ 7 w 411"/>
              <a:gd name="T9" fmla="*/ 345 h 413"/>
              <a:gd name="T10" fmla="*/ 68 w 411"/>
              <a:gd name="T11" fmla="*/ 345 h 413"/>
              <a:gd name="T12" fmla="*/ 133 w 411"/>
              <a:gd name="T13" fmla="*/ 411 h 413"/>
              <a:gd name="T14" fmla="*/ 138 w 411"/>
              <a:gd name="T15" fmla="*/ 413 h 413"/>
              <a:gd name="T16" fmla="*/ 141 w 411"/>
              <a:gd name="T17" fmla="*/ 413 h 413"/>
              <a:gd name="T18" fmla="*/ 145 w 411"/>
              <a:gd name="T19" fmla="*/ 406 h 413"/>
              <a:gd name="T20" fmla="*/ 145 w 411"/>
              <a:gd name="T21" fmla="*/ 345 h 413"/>
              <a:gd name="T22" fmla="*/ 404 w 411"/>
              <a:gd name="T23" fmla="*/ 345 h 413"/>
              <a:gd name="T24" fmla="*/ 411 w 411"/>
              <a:gd name="T25" fmla="*/ 338 h 413"/>
              <a:gd name="T26" fmla="*/ 411 w 411"/>
              <a:gd name="T27" fmla="*/ 7 h 413"/>
              <a:gd name="T28" fmla="*/ 404 w 411"/>
              <a:gd name="T29" fmla="*/ 0 h 413"/>
              <a:gd name="T30" fmla="*/ 396 w 411"/>
              <a:gd name="T31" fmla="*/ 330 h 413"/>
              <a:gd name="T32" fmla="*/ 138 w 411"/>
              <a:gd name="T33" fmla="*/ 330 h 413"/>
              <a:gd name="T34" fmla="*/ 130 w 411"/>
              <a:gd name="T35" fmla="*/ 338 h 413"/>
              <a:gd name="T36" fmla="*/ 130 w 411"/>
              <a:gd name="T37" fmla="*/ 388 h 413"/>
              <a:gd name="T38" fmla="*/ 77 w 411"/>
              <a:gd name="T39" fmla="*/ 333 h 413"/>
              <a:gd name="T40" fmla="*/ 71 w 411"/>
              <a:gd name="T41" fmla="*/ 330 h 413"/>
              <a:gd name="T42" fmla="*/ 15 w 411"/>
              <a:gd name="T43" fmla="*/ 330 h 413"/>
              <a:gd name="T44" fmla="*/ 15 w 411"/>
              <a:gd name="T45" fmla="*/ 15 h 413"/>
              <a:gd name="T46" fmla="*/ 396 w 411"/>
              <a:gd name="T47" fmla="*/ 15 h 413"/>
              <a:gd name="T48" fmla="*/ 396 w 411"/>
              <a:gd name="T49" fmla="*/ 33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413">
                <a:moveTo>
                  <a:pt x="404" y="0"/>
                </a:moveTo>
                <a:cubicBezTo>
                  <a:pt x="7" y="0"/>
                  <a:pt x="7" y="0"/>
                  <a:pt x="7" y="0"/>
                </a:cubicBezTo>
                <a:cubicBezTo>
                  <a:pt x="3" y="0"/>
                  <a:pt x="0" y="3"/>
                  <a:pt x="0" y="7"/>
                </a:cubicBezTo>
                <a:cubicBezTo>
                  <a:pt x="0" y="338"/>
                  <a:pt x="0" y="338"/>
                  <a:pt x="0" y="338"/>
                </a:cubicBezTo>
                <a:cubicBezTo>
                  <a:pt x="0" y="342"/>
                  <a:pt x="3" y="345"/>
                  <a:pt x="7" y="345"/>
                </a:cubicBezTo>
                <a:cubicBezTo>
                  <a:pt x="68" y="345"/>
                  <a:pt x="68" y="345"/>
                  <a:pt x="68" y="345"/>
                </a:cubicBezTo>
                <a:cubicBezTo>
                  <a:pt x="133" y="411"/>
                  <a:pt x="133" y="411"/>
                  <a:pt x="133" y="411"/>
                </a:cubicBezTo>
                <a:cubicBezTo>
                  <a:pt x="134" y="413"/>
                  <a:pt x="136" y="413"/>
                  <a:pt x="138" y="413"/>
                </a:cubicBezTo>
                <a:cubicBezTo>
                  <a:pt x="139" y="413"/>
                  <a:pt x="140" y="413"/>
                  <a:pt x="141" y="413"/>
                </a:cubicBezTo>
                <a:cubicBezTo>
                  <a:pt x="143" y="412"/>
                  <a:pt x="145" y="409"/>
                  <a:pt x="145" y="406"/>
                </a:cubicBezTo>
                <a:cubicBezTo>
                  <a:pt x="145" y="345"/>
                  <a:pt x="145" y="345"/>
                  <a:pt x="145" y="345"/>
                </a:cubicBezTo>
                <a:cubicBezTo>
                  <a:pt x="404" y="345"/>
                  <a:pt x="404" y="345"/>
                  <a:pt x="404" y="345"/>
                </a:cubicBezTo>
                <a:cubicBezTo>
                  <a:pt x="408" y="345"/>
                  <a:pt x="411" y="342"/>
                  <a:pt x="411" y="338"/>
                </a:cubicBezTo>
                <a:cubicBezTo>
                  <a:pt x="411" y="7"/>
                  <a:pt x="411" y="7"/>
                  <a:pt x="411" y="7"/>
                </a:cubicBezTo>
                <a:cubicBezTo>
                  <a:pt x="411" y="3"/>
                  <a:pt x="408" y="0"/>
                  <a:pt x="404" y="0"/>
                </a:cubicBezTo>
                <a:close/>
                <a:moveTo>
                  <a:pt x="396" y="330"/>
                </a:moveTo>
                <a:cubicBezTo>
                  <a:pt x="138" y="330"/>
                  <a:pt x="138" y="330"/>
                  <a:pt x="138" y="330"/>
                </a:cubicBezTo>
                <a:cubicBezTo>
                  <a:pt x="134" y="330"/>
                  <a:pt x="130" y="334"/>
                  <a:pt x="130" y="338"/>
                </a:cubicBezTo>
                <a:cubicBezTo>
                  <a:pt x="130" y="388"/>
                  <a:pt x="130" y="388"/>
                  <a:pt x="130" y="388"/>
                </a:cubicBezTo>
                <a:cubicBezTo>
                  <a:pt x="77" y="333"/>
                  <a:pt x="77" y="333"/>
                  <a:pt x="77" y="333"/>
                </a:cubicBezTo>
                <a:cubicBezTo>
                  <a:pt x="75" y="331"/>
                  <a:pt x="73" y="330"/>
                  <a:pt x="71" y="330"/>
                </a:cubicBezTo>
                <a:cubicBezTo>
                  <a:pt x="15" y="330"/>
                  <a:pt x="15" y="330"/>
                  <a:pt x="15" y="330"/>
                </a:cubicBezTo>
                <a:cubicBezTo>
                  <a:pt x="15" y="15"/>
                  <a:pt x="15" y="15"/>
                  <a:pt x="15" y="15"/>
                </a:cubicBezTo>
                <a:cubicBezTo>
                  <a:pt x="396" y="15"/>
                  <a:pt x="396" y="15"/>
                  <a:pt x="396" y="15"/>
                </a:cubicBezTo>
                <a:lnTo>
                  <a:pt x="396" y="33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494218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ab">
    <p:bg bwMode="auto">
      <p:bgPr>
        <a:solidFill>
          <a:srgbClr val="EDC30D"/>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a:t>Lab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a:gradFill>
                  <a:gsLst>
                    <a:gs pos="2917">
                      <a:schemeClr val="tx1"/>
                    </a:gs>
                    <a:gs pos="30000">
                      <a:schemeClr val="tx1"/>
                    </a:gs>
                  </a:gsLst>
                  <a:lin ang="5400000" scaled="0"/>
                </a:gradFill>
              </a:rPr>
              <a:t>Hands-on lab</a:t>
            </a:r>
            <a:endParaRPr lang="en-US" sz="240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a:t>Lab code | Minutes</a:t>
            </a:r>
          </a:p>
        </p:txBody>
      </p:sp>
      <p:sp>
        <p:nvSpPr>
          <p:cNvPr id="10" name="Text Placeholder 9"/>
          <p:cNvSpPr>
            <a:spLocks noGrp="1"/>
          </p:cNvSpPr>
          <p:nvPr>
            <p:ph type="body" sz="quarter" idx="11" hasCustomPrompt="1"/>
          </p:nvPr>
        </p:nvSpPr>
        <p:spPr>
          <a:xfrm>
            <a:off x="467833" y="3594100"/>
            <a:ext cx="6018027"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a:t>Lab description</a:t>
            </a:r>
          </a:p>
        </p:txBody>
      </p:sp>
      <p:sp>
        <p:nvSpPr>
          <p:cNvPr id="9" name="Freeform 88"/>
          <p:cNvSpPr>
            <a:spLocks noEditPoints="1"/>
          </p:cNvSpPr>
          <p:nvPr userDrawn="1"/>
        </p:nvSpPr>
        <p:spPr bwMode="auto">
          <a:xfrm>
            <a:off x="467833" y="288383"/>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100825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81862"/>
          </a:xfrm>
          <a:noFill/>
        </p:spPr>
        <p:txBody>
          <a:bodyPr tIns="91440" bIns="91440" anchor="t" anchorCtr="0">
            <a:spAutoFit/>
          </a:bodyPr>
          <a:lstStyle>
            <a:lvl1pPr marL="0" algn="l" defTabSz="914367" rtl="0" eaLnBrk="1" latinLnBrk="0" hangingPunct="1">
              <a:lnSpc>
                <a:spcPct val="90000"/>
              </a:lnSpc>
              <a:spcBef>
                <a:spcPct val="0"/>
              </a:spcBef>
              <a:buNone/>
              <a:defRPr lang="en-US" sz="7200" b="0" kern="1200" cap="none" spc="-98" baseline="0" dirty="0">
                <a:ln w="3175">
                  <a:noFill/>
                </a:ln>
                <a:solidFill>
                  <a:srgbClr val="F2C812"/>
                </a:solidFill>
                <a:effectLst/>
                <a:latin typeface="Segoe UI Light (Headings)"/>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850521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F2C81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81862"/>
          </a:xfrm>
          <a:noFill/>
        </p:spPr>
        <p:txBody>
          <a:bodyPr tIns="91440" bIns="91440" anchor="t" anchorCtr="0">
            <a:spAutoFit/>
          </a:bodyPr>
          <a:lstStyle>
            <a:lvl1pPr marL="0" algn="l" defTabSz="914367" rtl="0" eaLnBrk="1" latinLnBrk="0" hangingPunct="1">
              <a:lnSpc>
                <a:spcPct val="90000"/>
              </a:lnSpc>
              <a:spcBef>
                <a:spcPct val="0"/>
              </a:spcBef>
              <a:buNone/>
              <a:defRPr lang="en-US" sz="7200" b="0" kern="1200" cap="none" spc="-98" baseline="0" dirty="0">
                <a:ln w="3175">
                  <a:noFill/>
                </a:ln>
                <a:solidFill>
                  <a:srgbClr val="000000"/>
                </a:solidFill>
                <a:effectLst/>
                <a:latin typeface="Segoe UI Light (Headings)"/>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2801196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resentation Closing">
    <p:bg>
      <p:bgPr>
        <a:solidFill>
          <a:srgbClr val="EDC30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5486" y="2863031"/>
            <a:ext cx="3056653" cy="1112622"/>
          </a:xfrm>
          <a:prstGeom prst="rect">
            <a:avLst/>
          </a:prstGeom>
        </p:spPr>
      </p:pic>
    </p:spTree>
    <p:extLst>
      <p:ext uri="{BB962C8B-B14F-4D97-AF65-F5344CB8AC3E}">
        <p14:creationId xmlns:p14="http://schemas.microsoft.com/office/powerpoint/2010/main" val="582985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515599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828992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Presentation Title">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3534026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Module Title">
    <p:bg>
      <p:bgPr>
        <a:solidFill>
          <a:srgbClr val="EDC30D"/>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1488557" y="1117590"/>
            <a:ext cx="10408581" cy="1655108"/>
          </a:xfrm>
        </p:spPr>
        <p:txBody>
          <a:bodyPr anchor="b"/>
          <a:lstStyle>
            <a:lvl1pPr indent="0">
              <a:defRPr sz="4800">
                <a:solidFill>
                  <a:schemeClr val="tx1"/>
                </a:solidFill>
                <a:latin typeface="Segoe UI Semibold" panose="020B0702040204020203" pitchFamily="34" charset="0"/>
                <a:cs typeface="Segoe UI Semibold" panose="020B0702040204020203" pitchFamily="34" charset="0"/>
              </a:defRPr>
            </a:lvl1pPr>
          </a:lstStyle>
          <a:p>
            <a:r>
              <a:rPr lang="en-US"/>
              <a:t>Module title</a:t>
            </a:r>
          </a:p>
        </p:txBody>
      </p:sp>
      <p:sp>
        <p:nvSpPr>
          <p:cNvPr id="9" name="Text Placeholder 8"/>
          <p:cNvSpPr>
            <a:spLocks noGrp="1"/>
          </p:cNvSpPr>
          <p:nvPr>
            <p:ph type="body" sz="quarter" idx="10" hasCustomPrompt="1"/>
          </p:nvPr>
        </p:nvSpPr>
        <p:spPr>
          <a:xfrm>
            <a:off x="1488558" y="3178512"/>
            <a:ext cx="10408580" cy="3679487"/>
          </a:xfrm>
        </p:spPr>
        <p:txBody>
          <a:bodyPr>
            <a:normAutofit/>
          </a:bodyPr>
          <a:lstStyle>
            <a:lvl1pPr marL="354013" indent="-354013">
              <a:buFont typeface="Wingdings" panose="05000000000000000000" pitchFamily="2" charset="2"/>
              <a:buChar char="§"/>
              <a:defRPr sz="3200">
                <a:solidFill>
                  <a:srgbClr val="EDC30D"/>
                </a:solidFill>
              </a:defRPr>
            </a:lvl1pPr>
          </a:lstStyle>
          <a:p>
            <a:pPr lvl="0"/>
            <a:r>
              <a:rPr lang="en-US"/>
              <a:t>Module content</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829504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1321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cSld name="Blank">
    <p:bg>
      <p:bgPr>
        <a:solidFill>
          <a:srgbClr val="EDC30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923348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5804999" y="562219"/>
            <a:ext cx="498040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819240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3404191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2" name="Rectangle 15"/>
          <p:cNvSpPr/>
          <p:nvPr userDrawn="1"/>
        </p:nvSpPr>
        <p:spPr bwMode="auto">
          <a:xfrm>
            <a:off x="883" y="993"/>
            <a:ext cx="404139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52331108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2" name="Rectangle 15"/>
          <p:cNvSpPr/>
          <p:nvPr userDrawn="1"/>
        </p:nvSpPr>
        <p:spPr bwMode="auto">
          <a:xfrm>
            <a:off x="884" y="993"/>
            <a:ext cx="2836909"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4319282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2" name="Rectangle 15"/>
          <p:cNvSpPr/>
          <p:nvPr userDrawn="1"/>
        </p:nvSpPr>
        <p:spPr bwMode="auto">
          <a:xfrm>
            <a:off x="884" y="993"/>
            <a:ext cx="2836909"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hasCustomPrompt="1"/>
          </p:nvPr>
        </p:nvSpPr>
        <p:spPr>
          <a:xfrm>
            <a:off x="2920181" y="226332"/>
            <a:ext cx="9202993" cy="956908"/>
          </a:xfrm>
        </p:spPr>
        <p:txBody>
          <a:bodyPr lIns="180000" anchor="t"/>
          <a:lstStyle>
            <a:lvl1pPr algn="l">
              <a:defRPr sz="3600">
                <a:solidFill>
                  <a:srgbClr val="000000"/>
                </a:solidFill>
                <a:latin typeface="Segoe UI Light (Headings)"/>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49668669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9" name="Rectangle 15"/>
          <p:cNvSpPr/>
          <p:nvPr userDrawn="1"/>
        </p:nvSpPr>
        <p:spPr bwMode="auto">
          <a:xfrm>
            <a:off x="883" y="993"/>
            <a:ext cx="404139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4493436" y="266655"/>
            <a:ext cx="729216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0190229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39996338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
        <p:nvSpPr>
          <p:cNvPr id="6"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523980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9519" t="25612" r="71112" b="37624"/>
          <a:stretch/>
        </p:blipFill>
        <p:spPr>
          <a:xfrm>
            <a:off x="-1131532" y="-156880"/>
            <a:ext cx="15074250" cy="7153284"/>
          </a:xfrm>
          <a:prstGeom prst="rect">
            <a:avLst/>
          </a:prstGeom>
        </p:spPr>
      </p:pic>
      <p:sp>
        <p:nvSpPr>
          <p:cNvPr id="2" name="Title 1"/>
          <p:cNvSpPr>
            <a:spLocks noGrp="1"/>
          </p:cNvSpPr>
          <p:nvPr>
            <p:ph type="title"/>
          </p:nvPr>
        </p:nvSpPr>
        <p:spPr>
          <a:xfrm>
            <a:off x="838200" y="2160674"/>
            <a:ext cx="10515600" cy="1325563"/>
          </a:xfrm>
        </p:spPr>
        <p:txBody>
          <a:bodyPr/>
          <a:lstStyle>
            <a:lvl1pPr>
              <a:defRPr lang="en-US" sz="9000" kern="1200" dirty="0">
                <a:solidFill>
                  <a:srgbClr val="F2C811"/>
                </a:solidFill>
                <a:latin typeface="Segoe UI Light" panose="020B0502040204020203" pitchFamily="34" charset="0"/>
                <a:ea typeface="Segoe UI Black" panose="020B0A02040204020203" pitchFamily="34" charset="0"/>
                <a:cs typeface="Segoe UI Light"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57380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732160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60000"/>
            <a:ext cx="11655840" cy="720000"/>
          </a:xfrm>
        </p:spPr>
        <p:txBody>
          <a:bodyPr lIns="180000"/>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a:t>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8809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Key Takeaways">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9141" y="360000"/>
            <a:ext cx="10805938" cy="720000"/>
          </a:xfrm>
        </p:spPr>
        <p:txBody>
          <a:bodyPr/>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a:t>Second level</a:t>
            </a:r>
          </a:p>
          <a:p>
            <a:pPr lvl="2"/>
            <a:r>
              <a:rPr lang="en-US"/>
              <a:t>Third level</a:t>
            </a:r>
          </a:p>
          <a:p>
            <a:pPr lvl="3"/>
            <a:r>
              <a:rPr lang="en-US"/>
              <a:t>Fourth level</a:t>
            </a:r>
          </a:p>
          <a:p>
            <a:pPr lvl="4"/>
            <a:r>
              <a:rPr lang="en-US"/>
              <a:t>Fifth level</a:t>
            </a:r>
          </a:p>
        </p:txBody>
      </p:sp>
      <p:sp>
        <p:nvSpPr>
          <p:cNvPr id="9" name="Freeform 88"/>
          <p:cNvSpPr>
            <a:spLocks noEditPoints="1"/>
          </p:cNvSpPr>
          <p:nvPr userDrawn="1"/>
        </p:nvSpPr>
        <p:spPr bwMode="auto">
          <a:xfrm>
            <a:off x="467833" y="360000"/>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66607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Opportunities">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43897" y="360000"/>
            <a:ext cx="10981182" cy="720000"/>
          </a:xfrm>
        </p:spPr>
        <p:txBody>
          <a:bodyPr/>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a:t>Second level</a:t>
            </a:r>
          </a:p>
          <a:p>
            <a:pPr lvl="2"/>
            <a:r>
              <a:rPr lang="en-US"/>
              <a:t>Third level</a:t>
            </a:r>
          </a:p>
          <a:p>
            <a:pPr lvl="3"/>
            <a:r>
              <a:rPr lang="en-US"/>
              <a:t>Fourth level</a:t>
            </a:r>
          </a:p>
          <a:p>
            <a:pPr lvl="4"/>
            <a:r>
              <a:rPr lang="en-US"/>
              <a:t>Fifth level</a:t>
            </a:r>
          </a:p>
        </p:txBody>
      </p:sp>
      <p:sp>
        <p:nvSpPr>
          <p:cNvPr id="7" name="Freeform 13"/>
          <p:cNvSpPr>
            <a:spLocks noEditPoints="1"/>
          </p:cNvSpPr>
          <p:nvPr userDrawn="1"/>
        </p:nvSpPr>
        <p:spPr bwMode="auto">
          <a:xfrm>
            <a:off x="455749" y="365275"/>
            <a:ext cx="350279" cy="645825"/>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ysClr val="windowText" lastClr="000000"/>
              </a:solidFill>
            </a:endParaRPr>
          </a:p>
        </p:txBody>
      </p:sp>
    </p:spTree>
    <p:extLst>
      <p:ext uri="{BB962C8B-B14F-4D97-AF65-F5344CB8AC3E}">
        <p14:creationId xmlns:p14="http://schemas.microsoft.com/office/powerpoint/2010/main" val="1347259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Resources">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4478" y="360000"/>
            <a:ext cx="10810601" cy="720000"/>
          </a:xfrm>
        </p:spPr>
        <p:txBody>
          <a:bodyPr/>
          <a:lstStyle>
            <a:lvl1pPr>
              <a:defRPr/>
            </a:lvl1pPr>
          </a:lstStyle>
          <a:p>
            <a:r>
              <a:rPr lang="en-US"/>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a:t>Slide content</a:t>
            </a:r>
          </a:p>
          <a:p>
            <a:pPr lvl="1"/>
            <a:r>
              <a:rPr lang="en-US"/>
              <a:t>Second level</a:t>
            </a:r>
          </a:p>
          <a:p>
            <a:pPr lvl="2"/>
            <a:r>
              <a:rPr lang="en-US"/>
              <a:t>Third level</a:t>
            </a:r>
          </a:p>
          <a:p>
            <a:pPr lvl="3"/>
            <a:r>
              <a:rPr lang="en-US"/>
              <a:t>Fourth level</a:t>
            </a:r>
          </a:p>
          <a:p>
            <a:pPr lvl="4"/>
            <a:r>
              <a:rPr lang="en-US"/>
              <a:t>Fifth level</a:t>
            </a:r>
          </a:p>
        </p:txBody>
      </p:sp>
      <p:sp>
        <p:nvSpPr>
          <p:cNvPr id="9" name="Freeform 72"/>
          <p:cNvSpPr>
            <a:spLocks noEditPoints="1"/>
          </p:cNvSpPr>
          <p:nvPr userDrawn="1"/>
        </p:nvSpPr>
        <p:spPr bwMode="auto">
          <a:xfrm>
            <a:off x="467833" y="360000"/>
            <a:ext cx="646645" cy="647978"/>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043721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p:bg bwMode="auto">
      <p:bgPr>
        <a:solidFill>
          <a:srgbClr val="EDC30D"/>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a:t>Demo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a:gradFill>
                  <a:gsLst>
                    <a:gs pos="2917">
                      <a:schemeClr val="tx1"/>
                    </a:gs>
                    <a:gs pos="30000">
                      <a:schemeClr val="tx1"/>
                    </a:gs>
                  </a:gsLst>
                  <a:lin ang="5400000" scaled="0"/>
                </a:gradFill>
              </a:rPr>
              <a:t>Demonstration</a:t>
            </a:r>
            <a:endParaRPr lang="en-US" sz="240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a:t>Demo code</a:t>
            </a:r>
          </a:p>
        </p:txBody>
      </p:sp>
      <p:sp>
        <p:nvSpPr>
          <p:cNvPr id="10" name="Text Placeholder 9"/>
          <p:cNvSpPr>
            <a:spLocks noGrp="1"/>
          </p:cNvSpPr>
          <p:nvPr>
            <p:ph type="body" sz="quarter" idx="11" hasCustomPrompt="1"/>
          </p:nvPr>
        </p:nvSpPr>
        <p:spPr>
          <a:xfrm>
            <a:off x="467833" y="3594100"/>
            <a:ext cx="11355571"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a:t>Demo description</a:t>
            </a:r>
          </a:p>
        </p:txBody>
      </p:sp>
      <p:sp>
        <p:nvSpPr>
          <p:cNvPr id="11" name="Freeform 74"/>
          <p:cNvSpPr>
            <a:spLocks noEditPoints="1"/>
          </p:cNvSpPr>
          <p:nvPr userDrawn="1"/>
        </p:nvSpPr>
        <p:spPr bwMode="auto">
          <a:xfrm>
            <a:off x="467832" y="317061"/>
            <a:ext cx="646645" cy="649310"/>
          </a:xfrm>
          <a:custGeom>
            <a:avLst/>
            <a:gdLst>
              <a:gd name="T0" fmla="*/ 404 w 411"/>
              <a:gd name="T1" fmla="*/ 0 h 413"/>
              <a:gd name="T2" fmla="*/ 7 w 411"/>
              <a:gd name="T3" fmla="*/ 0 h 413"/>
              <a:gd name="T4" fmla="*/ 0 w 411"/>
              <a:gd name="T5" fmla="*/ 7 h 413"/>
              <a:gd name="T6" fmla="*/ 0 w 411"/>
              <a:gd name="T7" fmla="*/ 338 h 413"/>
              <a:gd name="T8" fmla="*/ 7 w 411"/>
              <a:gd name="T9" fmla="*/ 345 h 413"/>
              <a:gd name="T10" fmla="*/ 68 w 411"/>
              <a:gd name="T11" fmla="*/ 345 h 413"/>
              <a:gd name="T12" fmla="*/ 133 w 411"/>
              <a:gd name="T13" fmla="*/ 411 h 413"/>
              <a:gd name="T14" fmla="*/ 138 w 411"/>
              <a:gd name="T15" fmla="*/ 413 h 413"/>
              <a:gd name="T16" fmla="*/ 141 w 411"/>
              <a:gd name="T17" fmla="*/ 413 h 413"/>
              <a:gd name="T18" fmla="*/ 145 w 411"/>
              <a:gd name="T19" fmla="*/ 406 h 413"/>
              <a:gd name="T20" fmla="*/ 145 w 411"/>
              <a:gd name="T21" fmla="*/ 345 h 413"/>
              <a:gd name="T22" fmla="*/ 404 w 411"/>
              <a:gd name="T23" fmla="*/ 345 h 413"/>
              <a:gd name="T24" fmla="*/ 411 w 411"/>
              <a:gd name="T25" fmla="*/ 338 h 413"/>
              <a:gd name="T26" fmla="*/ 411 w 411"/>
              <a:gd name="T27" fmla="*/ 7 h 413"/>
              <a:gd name="T28" fmla="*/ 404 w 411"/>
              <a:gd name="T29" fmla="*/ 0 h 413"/>
              <a:gd name="T30" fmla="*/ 396 w 411"/>
              <a:gd name="T31" fmla="*/ 330 h 413"/>
              <a:gd name="T32" fmla="*/ 138 w 411"/>
              <a:gd name="T33" fmla="*/ 330 h 413"/>
              <a:gd name="T34" fmla="*/ 130 w 411"/>
              <a:gd name="T35" fmla="*/ 338 h 413"/>
              <a:gd name="T36" fmla="*/ 130 w 411"/>
              <a:gd name="T37" fmla="*/ 388 h 413"/>
              <a:gd name="T38" fmla="*/ 77 w 411"/>
              <a:gd name="T39" fmla="*/ 333 h 413"/>
              <a:gd name="T40" fmla="*/ 71 w 411"/>
              <a:gd name="T41" fmla="*/ 330 h 413"/>
              <a:gd name="T42" fmla="*/ 15 w 411"/>
              <a:gd name="T43" fmla="*/ 330 h 413"/>
              <a:gd name="T44" fmla="*/ 15 w 411"/>
              <a:gd name="T45" fmla="*/ 15 h 413"/>
              <a:gd name="T46" fmla="*/ 396 w 411"/>
              <a:gd name="T47" fmla="*/ 15 h 413"/>
              <a:gd name="T48" fmla="*/ 396 w 411"/>
              <a:gd name="T49" fmla="*/ 33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413">
                <a:moveTo>
                  <a:pt x="404" y="0"/>
                </a:moveTo>
                <a:cubicBezTo>
                  <a:pt x="7" y="0"/>
                  <a:pt x="7" y="0"/>
                  <a:pt x="7" y="0"/>
                </a:cubicBezTo>
                <a:cubicBezTo>
                  <a:pt x="3" y="0"/>
                  <a:pt x="0" y="3"/>
                  <a:pt x="0" y="7"/>
                </a:cubicBezTo>
                <a:cubicBezTo>
                  <a:pt x="0" y="338"/>
                  <a:pt x="0" y="338"/>
                  <a:pt x="0" y="338"/>
                </a:cubicBezTo>
                <a:cubicBezTo>
                  <a:pt x="0" y="342"/>
                  <a:pt x="3" y="345"/>
                  <a:pt x="7" y="345"/>
                </a:cubicBezTo>
                <a:cubicBezTo>
                  <a:pt x="68" y="345"/>
                  <a:pt x="68" y="345"/>
                  <a:pt x="68" y="345"/>
                </a:cubicBezTo>
                <a:cubicBezTo>
                  <a:pt x="133" y="411"/>
                  <a:pt x="133" y="411"/>
                  <a:pt x="133" y="411"/>
                </a:cubicBezTo>
                <a:cubicBezTo>
                  <a:pt x="134" y="413"/>
                  <a:pt x="136" y="413"/>
                  <a:pt x="138" y="413"/>
                </a:cubicBezTo>
                <a:cubicBezTo>
                  <a:pt x="139" y="413"/>
                  <a:pt x="140" y="413"/>
                  <a:pt x="141" y="413"/>
                </a:cubicBezTo>
                <a:cubicBezTo>
                  <a:pt x="143" y="412"/>
                  <a:pt x="145" y="409"/>
                  <a:pt x="145" y="406"/>
                </a:cubicBezTo>
                <a:cubicBezTo>
                  <a:pt x="145" y="345"/>
                  <a:pt x="145" y="345"/>
                  <a:pt x="145" y="345"/>
                </a:cubicBezTo>
                <a:cubicBezTo>
                  <a:pt x="404" y="345"/>
                  <a:pt x="404" y="345"/>
                  <a:pt x="404" y="345"/>
                </a:cubicBezTo>
                <a:cubicBezTo>
                  <a:pt x="408" y="345"/>
                  <a:pt x="411" y="342"/>
                  <a:pt x="411" y="338"/>
                </a:cubicBezTo>
                <a:cubicBezTo>
                  <a:pt x="411" y="7"/>
                  <a:pt x="411" y="7"/>
                  <a:pt x="411" y="7"/>
                </a:cubicBezTo>
                <a:cubicBezTo>
                  <a:pt x="411" y="3"/>
                  <a:pt x="408" y="0"/>
                  <a:pt x="404" y="0"/>
                </a:cubicBezTo>
                <a:close/>
                <a:moveTo>
                  <a:pt x="396" y="330"/>
                </a:moveTo>
                <a:cubicBezTo>
                  <a:pt x="138" y="330"/>
                  <a:pt x="138" y="330"/>
                  <a:pt x="138" y="330"/>
                </a:cubicBezTo>
                <a:cubicBezTo>
                  <a:pt x="134" y="330"/>
                  <a:pt x="130" y="334"/>
                  <a:pt x="130" y="338"/>
                </a:cubicBezTo>
                <a:cubicBezTo>
                  <a:pt x="130" y="388"/>
                  <a:pt x="130" y="388"/>
                  <a:pt x="130" y="388"/>
                </a:cubicBezTo>
                <a:cubicBezTo>
                  <a:pt x="77" y="333"/>
                  <a:pt x="77" y="333"/>
                  <a:pt x="77" y="333"/>
                </a:cubicBezTo>
                <a:cubicBezTo>
                  <a:pt x="75" y="331"/>
                  <a:pt x="73" y="330"/>
                  <a:pt x="71" y="330"/>
                </a:cubicBezTo>
                <a:cubicBezTo>
                  <a:pt x="15" y="330"/>
                  <a:pt x="15" y="330"/>
                  <a:pt x="15" y="330"/>
                </a:cubicBezTo>
                <a:cubicBezTo>
                  <a:pt x="15" y="15"/>
                  <a:pt x="15" y="15"/>
                  <a:pt x="15" y="15"/>
                </a:cubicBezTo>
                <a:cubicBezTo>
                  <a:pt x="396" y="15"/>
                  <a:pt x="396" y="15"/>
                  <a:pt x="396" y="15"/>
                </a:cubicBezTo>
                <a:lnTo>
                  <a:pt x="396" y="33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865674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Lab">
    <p:bg bwMode="auto">
      <p:bgPr>
        <a:solidFill>
          <a:srgbClr val="EDC30D"/>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a:t>Lab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a:gradFill>
                  <a:gsLst>
                    <a:gs pos="2917">
                      <a:schemeClr val="tx1"/>
                    </a:gs>
                    <a:gs pos="30000">
                      <a:schemeClr val="tx1"/>
                    </a:gs>
                  </a:gsLst>
                  <a:lin ang="5400000" scaled="0"/>
                </a:gradFill>
              </a:rPr>
              <a:t>Hands-on lab</a:t>
            </a:r>
            <a:endParaRPr lang="en-US" sz="240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a:t>Lab code | Minutes</a:t>
            </a:r>
          </a:p>
        </p:txBody>
      </p:sp>
      <p:sp>
        <p:nvSpPr>
          <p:cNvPr id="10" name="Text Placeholder 9"/>
          <p:cNvSpPr>
            <a:spLocks noGrp="1"/>
          </p:cNvSpPr>
          <p:nvPr>
            <p:ph type="body" sz="quarter" idx="11" hasCustomPrompt="1"/>
          </p:nvPr>
        </p:nvSpPr>
        <p:spPr>
          <a:xfrm>
            <a:off x="467833" y="3594100"/>
            <a:ext cx="6018027"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a:t>Lab description</a:t>
            </a:r>
          </a:p>
        </p:txBody>
      </p:sp>
      <p:sp>
        <p:nvSpPr>
          <p:cNvPr id="9" name="Freeform 88"/>
          <p:cNvSpPr>
            <a:spLocks noEditPoints="1"/>
          </p:cNvSpPr>
          <p:nvPr userDrawn="1"/>
        </p:nvSpPr>
        <p:spPr bwMode="auto">
          <a:xfrm>
            <a:off x="467833" y="288383"/>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71470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81862"/>
          </a:xfrm>
          <a:noFill/>
        </p:spPr>
        <p:txBody>
          <a:bodyPr tIns="91440" bIns="91440" anchor="t" anchorCtr="0">
            <a:spAutoFit/>
          </a:bodyPr>
          <a:lstStyle>
            <a:lvl1pPr marL="0" algn="l" defTabSz="914367" rtl="0" eaLnBrk="1" latinLnBrk="0" hangingPunct="1">
              <a:lnSpc>
                <a:spcPct val="90000"/>
              </a:lnSpc>
              <a:spcBef>
                <a:spcPct val="0"/>
              </a:spcBef>
              <a:buNone/>
              <a:defRPr lang="en-US" sz="7200" b="0" kern="1200" cap="none" spc="-98" baseline="0" dirty="0">
                <a:ln w="3175">
                  <a:noFill/>
                </a:ln>
                <a:solidFill>
                  <a:srgbClr val="F2C812"/>
                </a:solidFill>
                <a:effectLst/>
                <a:latin typeface="Segoe UI Light (Headings)"/>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1353433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F2C81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81862"/>
          </a:xfrm>
          <a:noFill/>
        </p:spPr>
        <p:txBody>
          <a:bodyPr tIns="91440" bIns="91440" anchor="t" anchorCtr="0">
            <a:spAutoFit/>
          </a:bodyPr>
          <a:lstStyle>
            <a:lvl1pPr marL="0" algn="l" defTabSz="914367" rtl="0" eaLnBrk="1" latinLnBrk="0" hangingPunct="1">
              <a:lnSpc>
                <a:spcPct val="90000"/>
              </a:lnSpc>
              <a:spcBef>
                <a:spcPct val="0"/>
              </a:spcBef>
              <a:buNone/>
              <a:defRPr lang="en-US" sz="7200" b="0" kern="1200" cap="none" spc="-98" baseline="0" dirty="0">
                <a:ln w="3175">
                  <a:noFill/>
                </a:ln>
                <a:solidFill>
                  <a:srgbClr val="000000"/>
                </a:solidFill>
                <a:effectLst/>
                <a:latin typeface="Segoe UI Light (Headings)"/>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33339437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resentation Closing">
    <p:bg>
      <p:bgPr>
        <a:solidFill>
          <a:srgbClr val="EDC30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5486" y="2863031"/>
            <a:ext cx="3056653" cy="1112622"/>
          </a:xfrm>
          <a:prstGeom prst="rect">
            <a:avLst/>
          </a:prstGeom>
        </p:spPr>
      </p:pic>
    </p:spTree>
    <p:extLst>
      <p:ext uri="{BB962C8B-B14F-4D97-AF65-F5344CB8AC3E}">
        <p14:creationId xmlns:p14="http://schemas.microsoft.com/office/powerpoint/2010/main" val="375864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847504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26" Type="http://schemas.openxmlformats.org/officeDocument/2006/relationships/theme" Target="../theme/theme10.xml"/><Relationship Id="rId3" Type="http://schemas.openxmlformats.org/officeDocument/2006/relationships/slideLayout" Target="../slideLayouts/slideLayout208.xml"/><Relationship Id="rId21" Type="http://schemas.openxmlformats.org/officeDocument/2006/relationships/slideLayout" Target="../slideLayouts/slideLayout226.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0" Type="http://schemas.openxmlformats.org/officeDocument/2006/relationships/slideLayout" Target="../slideLayouts/slideLayout225.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5" Type="http://schemas.openxmlformats.org/officeDocument/2006/relationships/slideLayout" Target="../slideLayouts/slideLayout210.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10" Type="http://schemas.openxmlformats.org/officeDocument/2006/relationships/slideLayout" Target="../slideLayouts/slideLayout215.xml"/><Relationship Id="rId19" Type="http://schemas.openxmlformats.org/officeDocument/2006/relationships/slideLayout" Target="../slideLayouts/slideLayout224.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slideLayout" Target="../slideLayouts/slideLayout219.xml"/><Relationship Id="rId22" Type="http://schemas.openxmlformats.org/officeDocument/2006/relationships/slideLayout" Target="../slideLayouts/slideLayout227.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233.xml"/><Relationship Id="rId7" Type="http://schemas.openxmlformats.org/officeDocument/2006/relationships/theme" Target="../theme/theme11.xml"/><Relationship Id="rId2" Type="http://schemas.openxmlformats.org/officeDocument/2006/relationships/slideLayout" Target="../slideLayouts/slideLayout232.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5" Type="http://schemas.openxmlformats.org/officeDocument/2006/relationships/slideLayout" Target="../slideLayouts/slideLayout235.xml"/><Relationship Id="rId4" Type="http://schemas.openxmlformats.org/officeDocument/2006/relationships/slideLayout" Target="../slideLayouts/slideLayout234.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34" Type="http://schemas.openxmlformats.org/officeDocument/2006/relationships/image" Target="../media/image6.png"/><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33" Type="http://schemas.openxmlformats.org/officeDocument/2006/relationships/theme" Target="../theme/theme12.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29" Type="http://schemas.openxmlformats.org/officeDocument/2006/relationships/slideLayout" Target="../slideLayouts/slideLayout265.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32" Type="http://schemas.openxmlformats.org/officeDocument/2006/relationships/slideLayout" Target="../slideLayouts/slideLayout268.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slideLayout" Target="../slideLayouts/slideLayout264.xml"/><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31" Type="http://schemas.openxmlformats.org/officeDocument/2006/relationships/slideLayout" Target="../slideLayouts/slideLayout267.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slideLayout" Target="../slideLayouts/slideLayout263.xml"/><Relationship Id="rId30" Type="http://schemas.openxmlformats.org/officeDocument/2006/relationships/slideLayout" Target="../slideLayouts/slideLayout266.xml"/><Relationship Id="rId8" Type="http://schemas.openxmlformats.org/officeDocument/2006/relationships/slideLayout" Target="../slideLayouts/slideLayout24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 Type="http://schemas.openxmlformats.org/officeDocument/2006/relationships/slideLayout" Target="../slideLayouts/slideLayout12.xml"/><Relationship Id="rId21" Type="http://schemas.openxmlformats.org/officeDocument/2006/relationships/slideLayout" Target="../slideLayouts/slideLayout30.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slideLayout" Target="../slideLayouts/slideLayout38.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image" Target="../media/image6.png"/><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image" Target="../media/image15.emf"/><Relationship Id="rId2" Type="http://schemas.openxmlformats.org/officeDocument/2006/relationships/slideLayout" Target="../slideLayouts/slideLayout41.xml"/><Relationship Id="rId16" Type="http://schemas.openxmlformats.org/officeDocument/2006/relationships/theme" Target="../theme/theme3.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theme" Target="../theme/theme4.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theme" Target="../theme/theme5.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34" Type="http://schemas.openxmlformats.org/officeDocument/2006/relationships/image" Target="../media/image23.png"/><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33" Type="http://schemas.openxmlformats.org/officeDocument/2006/relationships/theme" Target="../theme/theme6.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32" Type="http://schemas.openxmlformats.org/officeDocument/2006/relationships/slideLayout" Target="../slideLayouts/slideLayout132.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slideLayout" Target="../slideLayouts/slideLayout131.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slideLayout" Target="../slideLayouts/slideLayout130.xml"/><Relationship Id="rId8" Type="http://schemas.openxmlformats.org/officeDocument/2006/relationships/slideLayout" Target="../slideLayouts/slideLayout10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slideLayout" Target="../slideLayouts/slideLayout158.xml"/><Relationship Id="rId3" Type="http://schemas.openxmlformats.org/officeDocument/2006/relationships/slideLayout" Target="../slideLayouts/slideLayout135.xml"/><Relationship Id="rId21" Type="http://schemas.openxmlformats.org/officeDocument/2006/relationships/slideLayout" Target="../slideLayouts/slideLayout153.xml"/><Relationship Id="rId34" Type="http://schemas.openxmlformats.org/officeDocument/2006/relationships/theme" Target="../theme/theme7.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33" Type="http://schemas.openxmlformats.org/officeDocument/2006/relationships/slideLayout" Target="../slideLayouts/slideLayout165.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29" Type="http://schemas.openxmlformats.org/officeDocument/2006/relationships/slideLayout" Target="../slideLayouts/slideLayout161.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32" Type="http://schemas.openxmlformats.org/officeDocument/2006/relationships/slideLayout" Target="../slideLayouts/slideLayout164.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slideLayout" Target="../slideLayouts/slideLayout160.xml"/><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31" Type="http://schemas.openxmlformats.org/officeDocument/2006/relationships/slideLayout" Target="../slideLayouts/slideLayout163.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slideLayout" Target="../slideLayouts/slideLayout159.xml"/><Relationship Id="rId30" Type="http://schemas.openxmlformats.org/officeDocument/2006/relationships/slideLayout" Target="../slideLayouts/slideLayout162.xml"/><Relationship Id="rId8" Type="http://schemas.openxmlformats.org/officeDocument/2006/relationships/slideLayout" Target="../slideLayouts/slideLayout14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3" Type="http://schemas.openxmlformats.org/officeDocument/2006/relationships/slideLayout" Target="../slideLayouts/slideLayout168.xml"/><Relationship Id="rId21" Type="http://schemas.openxmlformats.org/officeDocument/2006/relationships/slideLayout" Target="../slideLayouts/slideLayout186.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image" Target="../media/image15.emf"/><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3" Type="http://schemas.openxmlformats.org/officeDocument/2006/relationships/slideLayout" Target="../slideLayouts/slideLayout189.xml"/><Relationship Id="rId21" Type="http://schemas.openxmlformats.org/officeDocument/2006/relationships/image" Target="../media/image15.emf"/><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theme" Target="../theme/theme9.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6" name="Object 5" hidden="1"/>
                      <p:cNvPicPr/>
                      <p:nvPr/>
                    </p:nvPicPr>
                    <p:blipFill>
                      <a:blip r:embed="rId1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561764"/>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a:solidFill>
                  <a:srgbClr val="505050"/>
                </a:solidFill>
              </a:rPr>
              <a:t>Microsoft Confidential</a:t>
            </a:r>
          </a:p>
        </p:txBody>
      </p:sp>
      <p:sp>
        <p:nvSpPr>
          <p:cNvPr id="5" name="Slide Number Placeholder 4"/>
          <p:cNvSpPr>
            <a:spLocks noGrp="1"/>
          </p:cNvSpPr>
          <p:nvPr>
            <p:ph type="sldNum" sz="quarter" idx="4"/>
          </p:nvPr>
        </p:nvSpPr>
        <p:spPr>
          <a:xfrm>
            <a:off x="11367166" y="6561764"/>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a:solidFill>
                  <a:srgbClr val="505050"/>
                </a:solidFill>
              </a:rPr>
              <a:pPr defTabSz="914367"/>
              <a:t>‹#›</a:t>
            </a:fld>
            <a:endParaRPr>
              <a:solidFill>
                <a:srgbClr val="505050"/>
              </a:solidFill>
            </a:endParaRPr>
          </a:p>
        </p:txBody>
      </p:sp>
    </p:spTree>
    <p:extLst>
      <p:ext uri="{BB962C8B-B14F-4D97-AF65-F5344CB8AC3E}">
        <p14:creationId xmlns:p14="http://schemas.microsoft.com/office/powerpoint/2010/main" val="2318312463"/>
      </p:ext>
    </p:extLst>
  </p:cSld>
  <p:clrMap bg1="lt1" tx1="dk1" bg2="lt2" tx2="dk2" accent1="accent1" accent2="accent2" accent3="accent3" accent4="accent4" accent5="accent5" accent6="accent6" hlink="hlink" folHlink="folHlink"/>
  <p:sldLayoutIdLst>
    <p:sldLayoutId id="2147483703" r:id="rId1"/>
    <p:sldLayoutId id="2147484259" r:id="rId2"/>
    <p:sldLayoutId id="2147484365" r:id="rId3"/>
    <p:sldLayoutId id="2147484366" r:id="rId4"/>
    <p:sldLayoutId id="2147484367" r:id="rId5"/>
    <p:sldLayoutId id="2147484368" r:id="rId6"/>
    <p:sldLayoutId id="2147484369" r:id="rId7"/>
    <p:sldLayoutId id="2147484370" r:id="rId8"/>
    <p:sldLayoutId id="2147483704"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366230" y="-217"/>
            <a:ext cx="940152" cy="5654619"/>
            <a:chOff x="12614198" y="-221"/>
            <a:chExt cx="959004" cy="5767187"/>
          </a:xfrm>
        </p:grpSpPr>
        <p:grpSp>
          <p:nvGrpSpPr>
            <p:cNvPr id="37" name="Group 36"/>
            <p:cNvGrpSpPr/>
            <p:nvPr userDrawn="1"/>
          </p:nvGrpSpPr>
          <p:grpSpPr>
            <a:xfrm>
              <a:off x="12614198" y="-221"/>
              <a:ext cx="959004" cy="5716010"/>
              <a:chOff x="12614198" y="-221"/>
              <a:chExt cx="959004" cy="5716010"/>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spTree>
    <p:extLst>
      <p:ext uri="{BB962C8B-B14F-4D97-AF65-F5344CB8AC3E}">
        <p14:creationId xmlns:p14="http://schemas.microsoft.com/office/powerpoint/2010/main" val="2201487286"/>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tx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120000" y="1825625"/>
            <a:ext cx="102338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gradFill flip="none" rotWithShape="1">
                  <a:gsLst>
                    <a:gs pos="28000">
                      <a:schemeClr val="tx1">
                        <a:lumMod val="93000"/>
                      </a:schemeClr>
                    </a:gs>
                    <a:gs pos="0">
                      <a:schemeClr val="bg1">
                        <a:lumMod val="38000"/>
                        <a:lumOff val="62000"/>
                      </a:schemeClr>
                    </a:gs>
                    <a:gs pos="100000">
                      <a:schemeClr val="tx2">
                        <a:lumMod val="0"/>
                        <a:lumOff val="100000"/>
                      </a:schemeClr>
                    </a:gs>
                  </a:gsLst>
                  <a:lin ang="5400000" scaled="1"/>
                  <a:tileRect/>
                </a:gradFill>
              </a:defRPr>
            </a:lvl1pPr>
          </a:lstStyle>
          <a:p>
            <a:fld id="{77DFFFBB-4461-4DED-8773-CA9B3AD703BB}" type="datetimeFigureOut">
              <a:rPr lang="en-US" smtClean="0"/>
              <a:t>6/14/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gradFill flip="none" rotWithShape="1">
                  <a:gsLst>
                    <a:gs pos="28000">
                      <a:schemeClr val="tx1">
                        <a:lumMod val="93000"/>
                      </a:schemeClr>
                    </a:gs>
                    <a:gs pos="0">
                      <a:schemeClr val="bg1">
                        <a:lumMod val="38000"/>
                        <a:lumOff val="62000"/>
                      </a:schemeClr>
                    </a:gs>
                    <a:gs pos="100000">
                      <a:schemeClr val="tx2">
                        <a:lumMod val="0"/>
                        <a:lumOff val="100000"/>
                      </a:schemeClr>
                    </a:gs>
                  </a:gsLst>
                  <a:lin ang="5400000" scaled="1"/>
                  <a:tileRect/>
                </a:gra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gradFill flip="none" rotWithShape="1">
                  <a:gsLst>
                    <a:gs pos="28000">
                      <a:schemeClr val="tx1">
                        <a:lumMod val="93000"/>
                      </a:schemeClr>
                    </a:gs>
                    <a:gs pos="0">
                      <a:schemeClr val="bg1">
                        <a:lumMod val="38000"/>
                        <a:lumOff val="62000"/>
                      </a:schemeClr>
                    </a:gs>
                    <a:gs pos="100000">
                      <a:schemeClr val="tx2">
                        <a:lumMod val="0"/>
                        <a:lumOff val="100000"/>
                      </a:schemeClr>
                    </a:gs>
                  </a:gsLst>
                  <a:lin ang="5400000" scaled="1"/>
                  <a:tileRect/>
                </a:gradFill>
              </a:defRPr>
            </a:lvl1pPr>
          </a:lstStyle>
          <a:p>
            <a:fld id="{EAB2D25F-569A-43D3-8EF4-470DD7605AFE}" type="slidenum">
              <a:rPr lang="en-US" smtClean="0"/>
              <a:t>‹#›</a:t>
            </a:fld>
            <a:endParaRPr lang="en-US"/>
          </a:p>
        </p:txBody>
      </p:sp>
    </p:spTree>
    <p:extLst>
      <p:ext uri="{BB962C8B-B14F-4D97-AF65-F5344CB8AC3E}">
        <p14:creationId xmlns:p14="http://schemas.microsoft.com/office/powerpoint/2010/main" val="755601101"/>
      </p:ext>
    </p:extLst>
  </p:cSld>
  <p:clrMap bg1="dk1" tx1="lt1" bg2="dk2" tx2="lt2" accent1="accent1" accent2="accent2" accent3="accent3" accent4="accent4" accent5="accent5" accent6="accent6" hlink="hlink" folHlink="folHlink"/>
  <p:sldLayoutIdLst>
    <p:sldLayoutId id="2147484357" r:id="rId1"/>
    <p:sldLayoutId id="2147484360" r:id="rId2"/>
    <p:sldLayoutId id="2147484358" r:id="rId3"/>
    <p:sldLayoutId id="2147484359" r:id="rId4"/>
    <p:sldLayoutId id="2147484362" r:id="rId5"/>
    <p:sldLayoutId id="2147484363" r:id="rId6"/>
  </p:sldLayoutIdLst>
  <p:txStyles>
    <p:titleStyle>
      <a:lvl1pPr algn="l" defTabSz="914400" rtl="0" eaLnBrk="1" latinLnBrk="0" hangingPunct="1">
        <a:lnSpc>
          <a:spcPct val="90000"/>
        </a:lnSpc>
        <a:spcBef>
          <a:spcPct val="0"/>
        </a:spcBef>
        <a:buNone/>
        <a:defRPr sz="5400" b="0" kern="1200">
          <a:gradFill flip="none" rotWithShape="1">
            <a:gsLst>
              <a:gs pos="28000">
                <a:schemeClr val="tx1">
                  <a:lumMod val="93000"/>
                </a:schemeClr>
              </a:gs>
              <a:gs pos="0">
                <a:schemeClr val="bg1">
                  <a:lumMod val="25000"/>
                  <a:lumOff val="75000"/>
                </a:schemeClr>
              </a:gs>
              <a:gs pos="100000">
                <a:schemeClr val="tx2">
                  <a:lumMod val="0"/>
                  <a:lumOff val="100000"/>
                </a:schemeClr>
              </a:gs>
            </a:gsLst>
            <a:lin ang="4800000" scaled="0"/>
            <a:tileRect/>
          </a:gra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386351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790" r:id="rId3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434832612"/>
      </p:ext>
    </p:extLst>
  </p:cSld>
  <p:clrMap bg1="dk1" tx1="lt1" bg2="dk2" tx2="lt2" accent1="accent1" accent2="accent2" accent3="accent3" accent4="accent4" accent5="accent5" accent6="accent6" hlink="hlink" folHlink="folHlink"/>
  <p:sldLayoutIdLst>
    <p:sldLayoutId id="2147484372" r:id="rId1"/>
    <p:sldLayoutId id="2147484373" r:id="rId2"/>
    <p:sldLayoutId id="2147484374" r:id="rId3"/>
    <p:sldLayoutId id="2147484375" r:id="rId4"/>
    <p:sldLayoutId id="2147484376" r:id="rId5"/>
    <p:sldLayoutId id="2147484377" r:id="rId6"/>
    <p:sldLayoutId id="2147484378" r:id="rId7"/>
    <p:sldLayoutId id="2147484379" r:id="rId8"/>
    <p:sldLayoutId id="2147484380" r:id="rId9"/>
    <p:sldLayoutId id="2147484381" r:id="rId10"/>
    <p:sldLayoutId id="2147484382" r:id="rId11"/>
    <p:sldLayoutId id="2147484383" r:id="rId12"/>
    <p:sldLayoutId id="2147484384" r:id="rId13"/>
    <p:sldLayoutId id="2147484385" r:id="rId14"/>
    <p:sldLayoutId id="2147484386" r:id="rId15"/>
    <p:sldLayoutId id="2147484387" r:id="rId16"/>
    <p:sldLayoutId id="2147484388" r:id="rId17"/>
    <p:sldLayoutId id="2147484389" r:id="rId18"/>
    <p:sldLayoutId id="2147484390" r:id="rId19"/>
    <p:sldLayoutId id="2147484253" r:id="rId20"/>
    <p:sldLayoutId id="2147484254" r:id="rId21"/>
    <p:sldLayoutId id="2147483692" r:id="rId22"/>
    <p:sldLayoutId id="2147484255" r:id="rId23"/>
    <p:sldLayoutId id="2147483694" r:id="rId24"/>
    <p:sldLayoutId id="2147483695" r:id="rId25"/>
    <p:sldLayoutId id="2147484256" r:id="rId26"/>
    <p:sldLayoutId id="2147484257" r:id="rId27"/>
    <p:sldLayoutId id="2147483698" r:id="rId28"/>
    <p:sldLayoutId id="2147483699" r:id="rId29"/>
    <p:sldLayoutId id="214748370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7"/>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702905677"/>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4262" r:id="rId6"/>
    <p:sldLayoutId id="2147484264" r:id="rId7"/>
    <p:sldLayoutId id="2147483724" r:id="rId8"/>
    <p:sldLayoutId id="2147484263" r:id="rId9"/>
    <p:sldLayoutId id="2147484258" r:id="rId10"/>
    <p:sldLayoutId id="2147484260" r:id="rId11"/>
    <p:sldLayoutId id="2147483728" r:id="rId12"/>
    <p:sldLayoutId id="2147484265" r:id="rId13"/>
    <p:sldLayoutId id="2147484266" r:id="rId14"/>
    <p:sldLayoutId id="2147484261" r:id="rId1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6174595"/>
      </p:ext>
    </p:extLst>
  </p:cSld>
  <p:clrMap bg1="lt1" tx1="dk1" bg2="lt2" tx2="dk2" accent1="accent1" accent2="accent2" accent3="accent3" accent4="accent4" accent5="accent5" accent6="accent6" hlink="hlink" folHlink="folHlink"/>
  <p:sldLayoutIdLst>
    <p:sldLayoutId id="2147484277" r:id="rId1"/>
    <p:sldLayoutId id="2147484278" r:id="rId2"/>
    <p:sldLayoutId id="2147484279" r:id="rId3"/>
    <p:sldLayoutId id="2147484280" r:id="rId4"/>
    <p:sldLayoutId id="2147484281" r:id="rId5"/>
    <p:sldLayoutId id="2147484282" r:id="rId6"/>
    <p:sldLayoutId id="2147484283" r:id="rId7"/>
    <p:sldLayoutId id="2147484284" r:id="rId8"/>
    <p:sldLayoutId id="2147484285" r:id="rId9"/>
    <p:sldLayoutId id="2147484286" r:id="rId10"/>
    <p:sldLayoutId id="2147484287" r:id="rId11"/>
    <p:sldLayoutId id="2147484288" r:id="rId12"/>
    <p:sldLayoutId id="2147484289" r:id="rId13"/>
    <p:sldLayoutId id="2147484290" r:id="rId14"/>
    <p:sldLayoutId id="2147484291" r:id="rId15"/>
    <p:sldLayoutId id="2147484292" r:id="rId16"/>
    <p:sldLayoutId id="2147484293" r:id="rId17"/>
    <p:sldLayoutId id="2147484294" r:id="rId18"/>
    <p:sldLayoutId id="2147484295" r:id="rId19"/>
    <p:sldLayoutId id="2147484296" r:id="rId20"/>
    <p:sldLayoutId id="2147484297" r:id="rId21"/>
    <p:sldLayoutId id="2147484298" r:id="rId22"/>
    <p:sldLayoutId id="2147484299"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6001218"/>
      </p:ext>
    </p:extLst>
  </p:cSld>
  <p:clrMap bg1="lt1" tx1="dk1" bg2="lt2" tx2="dk2" accent1="accent1" accent2="accent2" accent3="accent3" accent4="accent4" accent5="accent5" accent6="accent6" hlink="hlink" folHlink="folHlink"/>
  <p:sldLayoutIdLst>
    <p:sldLayoutId id="2147483758" r:id="rId1"/>
    <p:sldLayoutId id="2147484267" r:id="rId2"/>
    <p:sldLayoutId id="2147484268" r:id="rId3"/>
    <p:sldLayoutId id="2147483761" r:id="rId4"/>
    <p:sldLayoutId id="2147483762" r:id="rId5"/>
    <p:sldLayoutId id="2147483763" r:id="rId6"/>
    <p:sldLayoutId id="2147483764" r:id="rId7"/>
    <p:sldLayoutId id="2147483765" r:id="rId8"/>
    <p:sldLayoutId id="2147484269" r:id="rId9"/>
    <p:sldLayoutId id="2147484270" r:id="rId10"/>
    <p:sldLayoutId id="2147484271" r:id="rId11"/>
    <p:sldLayoutId id="2147484272" r:id="rId12"/>
    <p:sldLayoutId id="2147484273" r:id="rId13"/>
    <p:sldLayoutId id="2147484274" r:id="rId14"/>
    <p:sldLayoutId id="2147484275"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2653710418"/>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4393"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 id="2147483808" r:id="rId26"/>
    <p:sldLayoutId id="2147483809" r:id="rId27"/>
    <p:sldLayoutId id="2147483810" r:id="rId28"/>
    <p:sldLayoutId id="2147483811" r:id="rId29"/>
    <p:sldLayoutId id="2147483812" r:id="rId30"/>
    <p:sldLayoutId id="2147483813" r:id="rId31"/>
    <p:sldLayoutId id="2147483814" r:id="rId32"/>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37252249"/>
      </p:ext>
    </p:extLst>
  </p:cSld>
  <p:clrMap bg1="lt1" tx1="dk1" bg2="lt2" tx2="dk2" accent1="accent1" accent2="accent2" accent3="accent3" accent4="accent4" accent5="accent5" accent6="accent6" hlink="hlink" folHlink="folHlink"/>
  <p:sldLayoutIdLst>
    <p:sldLayoutId id="2147484177" r:id="rId1"/>
    <p:sldLayoutId id="2147484178" r:id="rId2"/>
    <p:sldLayoutId id="2147484179" r:id="rId3"/>
    <p:sldLayoutId id="2147484180" r:id="rId4"/>
    <p:sldLayoutId id="2147484181" r:id="rId5"/>
    <p:sldLayoutId id="2147484182" r:id="rId6"/>
    <p:sldLayoutId id="2147484183" r:id="rId7"/>
    <p:sldLayoutId id="2147484093" r:id="rId8"/>
    <p:sldLayoutId id="2147484184" r:id="rId9"/>
    <p:sldLayoutId id="2147484185" r:id="rId10"/>
    <p:sldLayoutId id="2147484186" r:id="rId11"/>
    <p:sldLayoutId id="2147484187" r:id="rId12"/>
    <p:sldLayoutId id="2147484188" r:id="rId13"/>
    <p:sldLayoutId id="2147484189" r:id="rId14"/>
    <p:sldLayoutId id="2147484190" r:id="rId15"/>
    <p:sldLayoutId id="2147484191" r:id="rId16"/>
    <p:sldLayoutId id="2147484192" r:id="rId17"/>
    <p:sldLayoutId id="2147484193" r:id="rId18"/>
    <p:sldLayoutId id="2147484194" r:id="rId19"/>
    <p:sldLayoutId id="2147484195" r:id="rId20"/>
    <p:sldLayoutId id="2147484196" r:id="rId21"/>
    <p:sldLayoutId id="2147484197" r:id="rId22"/>
    <p:sldLayoutId id="2147484198" r:id="rId23"/>
    <p:sldLayoutId id="2147484199" r:id="rId24"/>
    <p:sldLayoutId id="2147484200" r:id="rId25"/>
    <p:sldLayoutId id="2147484201" r:id="rId26"/>
    <p:sldLayoutId id="2147484174" r:id="rId27"/>
    <p:sldLayoutId id="2147484175" r:id="rId28"/>
    <p:sldLayoutId id="2147484202" r:id="rId29"/>
    <p:sldLayoutId id="2147484206" r:id="rId30"/>
    <p:sldLayoutId id="2147484207" r:id="rId31"/>
    <p:sldLayoutId id="2147484209" r:id="rId32"/>
    <p:sldLayoutId id="2147484210" r:id="rId33"/>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508094815"/>
      </p:ext>
    </p:extLst>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 id="2147484217" r:id="rId6"/>
    <p:sldLayoutId id="2147484218" r:id="rId7"/>
    <p:sldLayoutId id="2147484219" r:id="rId8"/>
    <p:sldLayoutId id="2147484220" r:id="rId9"/>
    <p:sldLayoutId id="2147484221" r:id="rId10"/>
    <p:sldLayoutId id="2147484222" r:id="rId11"/>
    <p:sldLayoutId id="2147484223" r:id="rId12"/>
    <p:sldLayoutId id="2147484224" r:id="rId13"/>
    <p:sldLayoutId id="2147484225" r:id="rId14"/>
    <p:sldLayoutId id="2147484226" r:id="rId15"/>
    <p:sldLayoutId id="2147484227" r:id="rId16"/>
    <p:sldLayoutId id="2147484228" r:id="rId17"/>
    <p:sldLayoutId id="2147484229" r:id="rId18"/>
    <p:sldLayoutId id="2147484230" r:id="rId19"/>
    <p:sldLayoutId id="2147483759" r:id="rId20"/>
    <p:sldLayoutId id="2147484231" r:id="rId21"/>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949902842"/>
      </p:ext>
    </p:extLst>
  </p:cSld>
  <p:clrMap bg1="lt1" tx1="dk1" bg2="lt2" tx2="dk2" accent1="accent1" accent2="accent2" accent3="accent3" accent4="accent4" accent5="accent5" accent6="accent6" hlink="hlink" folHlink="folHlink"/>
  <p:sldLayoutIdLst>
    <p:sldLayoutId id="2147484233" r:id="rId1"/>
    <p:sldLayoutId id="2147484234" r:id="rId2"/>
    <p:sldLayoutId id="2147484235" r:id="rId3"/>
    <p:sldLayoutId id="2147484236" r:id="rId4"/>
    <p:sldLayoutId id="2147484237" r:id="rId5"/>
    <p:sldLayoutId id="2147484238" r:id="rId6"/>
    <p:sldLayoutId id="2147484239" r:id="rId7"/>
    <p:sldLayoutId id="2147484240" r:id="rId8"/>
    <p:sldLayoutId id="2147484241" r:id="rId9"/>
    <p:sldLayoutId id="2147484242" r:id="rId10"/>
    <p:sldLayoutId id="2147484243" r:id="rId11"/>
    <p:sldLayoutId id="2147484244" r:id="rId12"/>
    <p:sldLayoutId id="2147484245" r:id="rId13"/>
    <p:sldLayoutId id="2147484246" r:id="rId14"/>
    <p:sldLayoutId id="2147484247" r:id="rId15"/>
    <p:sldLayoutId id="2147484248" r:id="rId16"/>
    <p:sldLayoutId id="2147484249" r:id="rId17"/>
    <p:sldLayoutId id="2147484250" r:id="rId18"/>
    <p:sldLayoutId id="2147484251" r:id="rId19"/>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xml"/><Relationship Id="rId1" Type="http://schemas.openxmlformats.org/officeDocument/2006/relationships/slideLayout" Target="../slideLayouts/slideLayout231.xml"/><Relationship Id="rId5" Type="http://schemas.openxmlformats.org/officeDocument/2006/relationships/hyperlink" Target="mailto:koakepan@microsoft.com" TargetMode="External"/><Relationship Id="rId4" Type="http://schemas.openxmlformats.org/officeDocument/2006/relationships/image" Target="../media/image76.png"/></Relationships>
</file>

<file path=ppt/slides/_rels/slide10.xml.rels><?xml version="1.0" encoding="UTF-8" standalone="yes"?>
<Relationships xmlns="http://schemas.openxmlformats.org/package/2006/relationships"><Relationship Id="rId3" Type="http://schemas.openxmlformats.org/officeDocument/2006/relationships/hyperlink" Target="https://docs.microsoft.com/en-us/power-bi/service-admin-premium-manage" TargetMode="External"/><Relationship Id="rId2" Type="http://schemas.openxmlformats.org/officeDocument/2006/relationships/notesSlide" Target="../notesSlides/notesSlide7.xml"/><Relationship Id="rId1" Type="http://schemas.openxmlformats.org/officeDocument/2006/relationships/slideLayout" Target="../slideLayouts/slideLayout17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7.xml"/></Relationships>
</file>

<file path=ppt/slides/_rels/slide12.xml.rels><?xml version="1.0" encoding="UTF-8" standalone="yes"?>
<Relationships xmlns="http://schemas.openxmlformats.org/package/2006/relationships"><Relationship Id="rId8" Type="http://schemas.openxmlformats.org/officeDocument/2006/relationships/image" Target="../media/image93.svg"/><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9.xml"/><Relationship Id="rId1" Type="http://schemas.openxmlformats.org/officeDocument/2006/relationships/slideLayout" Target="../slideLayouts/slideLayout192.xml"/><Relationship Id="rId6" Type="http://schemas.openxmlformats.org/officeDocument/2006/relationships/image" Target="../media/image91.svg"/><Relationship Id="rId5" Type="http://schemas.openxmlformats.org/officeDocument/2006/relationships/image" Target="../media/image90.png"/><Relationship Id="rId4" Type="http://schemas.openxmlformats.org/officeDocument/2006/relationships/image" Target="../media/image89.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hemeOverride" Target="../theme/themeOverride3.xml"/></Relationships>
</file>

<file path=ppt/slides/_rels/slide1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79.png"/></Relationships>
</file>

<file path=ppt/slides/_rels/slide1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94.png"/><Relationship Id="rId4" Type="http://schemas.openxmlformats.org/officeDocument/2006/relationships/image" Target="../media/image79.png"/></Relationships>
</file>

<file path=ppt/slides/_rels/slide1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2.xml"/><Relationship Id="rId1" Type="http://schemas.openxmlformats.org/officeDocument/2006/relationships/slideLayout" Target="../slideLayouts/slideLayout6.xml"/><Relationship Id="rId5" Type="http://schemas.openxmlformats.org/officeDocument/2006/relationships/image" Target="../media/image95.png"/><Relationship Id="rId4" Type="http://schemas.openxmlformats.org/officeDocument/2006/relationships/image" Target="../media/image79.png"/></Relationships>
</file>

<file path=ppt/slides/_rels/slide1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96.png"/><Relationship Id="rId5" Type="http://schemas.openxmlformats.org/officeDocument/2006/relationships/hyperlink" Target="https://support.powerbi.com/knowledgebase/topics/88770-services-in-power-bi" TargetMode="External"/><Relationship Id="rId4" Type="http://schemas.openxmlformats.org/officeDocument/2006/relationships/image" Target="../media/image79.png"/></Relationships>
</file>

<file path=ppt/slides/_rels/slide19.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78.png"/><Relationship Id="rId7" Type="http://schemas.openxmlformats.org/officeDocument/2006/relationships/image" Target="../media/image99.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98.png"/><Relationship Id="rId11" Type="http://schemas.openxmlformats.org/officeDocument/2006/relationships/image" Target="../media/image103.png"/><Relationship Id="rId5" Type="http://schemas.openxmlformats.org/officeDocument/2006/relationships/image" Target="../media/image97.png"/><Relationship Id="rId10" Type="http://schemas.openxmlformats.org/officeDocument/2006/relationships/image" Target="../media/image102.png"/><Relationship Id="rId4" Type="http://schemas.openxmlformats.org/officeDocument/2006/relationships/image" Target="../media/image79.png"/><Relationship Id="rId9" Type="http://schemas.openxmlformats.org/officeDocument/2006/relationships/image" Target="../media/image101.png"/></Relationships>
</file>

<file path=ppt/slides/_rels/slide2.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hyperlink" Target="mailto:koakepan@micrsoft.com" TargetMode="External"/><Relationship Id="rId7" Type="http://schemas.openxmlformats.org/officeDocument/2006/relationships/diagramQuickStyle" Target="../diagrams/quickStyle1.xml"/><Relationship Id="rId2" Type="http://schemas.openxmlformats.org/officeDocument/2006/relationships/notesSlide" Target="../notesSlides/notesSlide2.xml"/><Relationship Id="rId1" Type="http://schemas.openxmlformats.org/officeDocument/2006/relationships/slideLayout" Target="../slideLayouts/slideLayout260.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hyperlink" Target="https://www.linkedin.com/in/korkridakepan/" TargetMode="External"/><Relationship Id="rId9" Type="http://schemas.microsoft.com/office/2007/relationships/diagramDrawing" Target="../diagrams/drawing1.xml"/></Relationships>
</file>

<file path=ppt/slides/_rels/slide2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5.xml"/><Relationship Id="rId1" Type="http://schemas.openxmlformats.org/officeDocument/2006/relationships/slideLayout" Target="../slideLayouts/slideLayout6.xml"/><Relationship Id="rId5" Type="http://schemas.openxmlformats.org/officeDocument/2006/relationships/image" Target="../media/image104.png"/><Relationship Id="rId4" Type="http://schemas.openxmlformats.org/officeDocument/2006/relationships/image" Target="../media/image79.png"/></Relationships>
</file>

<file path=ppt/slides/_rels/slide2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6.xml"/><Relationship Id="rId1" Type="http://schemas.openxmlformats.org/officeDocument/2006/relationships/slideLayout" Target="../slideLayouts/slideLayout6.xml"/><Relationship Id="rId5" Type="http://schemas.openxmlformats.org/officeDocument/2006/relationships/image" Target="../media/image105.png"/><Relationship Id="rId4" Type="http://schemas.openxmlformats.org/officeDocument/2006/relationships/image" Target="../media/image79.png"/></Relationships>
</file>

<file path=ppt/slides/_rels/slide2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7.xml"/><Relationship Id="rId1" Type="http://schemas.openxmlformats.org/officeDocument/2006/relationships/slideLayout" Target="../slideLayouts/slideLayout6.xml"/><Relationship Id="rId5" Type="http://schemas.openxmlformats.org/officeDocument/2006/relationships/image" Target="../media/image104.png"/><Relationship Id="rId4" Type="http://schemas.openxmlformats.org/officeDocument/2006/relationships/image" Target="../media/image79.png"/></Relationships>
</file>

<file path=ppt/slides/_rels/slide2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8.xml"/><Relationship Id="rId1" Type="http://schemas.openxmlformats.org/officeDocument/2006/relationships/slideLayout" Target="../slideLayouts/slideLayout6.xml"/><Relationship Id="rId5" Type="http://schemas.openxmlformats.org/officeDocument/2006/relationships/image" Target="../media/image106.png"/><Relationship Id="rId4" Type="http://schemas.openxmlformats.org/officeDocument/2006/relationships/image" Target="../media/image79.png"/></Relationships>
</file>

<file path=ppt/slides/_rels/slide2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9.xml"/><Relationship Id="rId1" Type="http://schemas.openxmlformats.org/officeDocument/2006/relationships/slideLayout" Target="../slideLayouts/slideLayout6.xml"/><Relationship Id="rId5" Type="http://schemas.openxmlformats.org/officeDocument/2006/relationships/image" Target="../media/image104.png"/><Relationship Id="rId4" Type="http://schemas.openxmlformats.org/officeDocument/2006/relationships/image" Target="../media/image79.png"/></Relationships>
</file>

<file path=ppt/slides/_rels/slide2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0.xml"/><Relationship Id="rId1" Type="http://schemas.openxmlformats.org/officeDocument/2006/relationships/slideLayout" Target="../slideLayouts/slideLayout6.xml"/><Relationship Id="rId5" Type="http://schemas.openxmlformats.org/officeDocument/2006/relationships/image" Target="../media/image104.png"/><Relationship Id="rId4" Type="http://schemas.openxmlformats.org/officeDocument/2006/relationships/image" Target="../media/image79.png"/></Relationships>
</file>

<file path=ppt/slides/_rels/slide2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1.xml"/><Relationship Id="rId1" Type="http://schemas.openxmlformats.org/officeDocument/2006/relationships/slideLayout" Target="../slideLayouts/slideLayout6.xml"/><Relationship Id="rId5" Type="http://schemas.openxmlformats.org/officeDocument/2006/relationships/image" Target="../media/image104.png"/><Relationship Id="rId4" Type="http://schemas.openxmlformats.org/officeDocument/2006/relationships/image" Target="../media/image79.png"/></Relationships>
</file>

<file path=ppt/slides/_rels/slide2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79.png"/></Relationships>
</file>

<file path=ppt/slides/_rels/slide2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31.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hemeOverride" Target="../theme/themeOverride1.xml"/></Relationships>
</file>

<file path=ppt/slides/_rels/slide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79.png"/></Relationships>
</file>

<file path=ppt/slides/_rels/slide5.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 Id="rId9" Type="http://schemas.openxmlformats.org/officeDocument/2006/relationships/image" Target="../media/image86.png"/></Relationships>
</file>

<file path=ppt/slides/_rels/slide6.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 Id="rId9" Type="http://schemas.openxmlformats.org/officeDocument/2006/relationships/image" Target="../media/image86.png"/></Relationships>
</file>

<file path=ppt/slides/_rels/slide7.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hemeOverride" Target="../theme/themeOverride2.xml"/></Relationships>
</file>

<file path=ppt/slides/_rels/slide9.xml.rels><?xml version="1.0" encoding="UTF-8" standalone="yes"?>
<Relationships xmlns="http://schemas.openxmlformats.org/package/2006/relationships"><Relationship Id="rId3" Type="http://schemas.openxmlformats.org/officeDocument/2006/relationships/hyperlink" Target="https://powerbi.microsoft.com/en-us/calculator/" TargetMode="External"/><Relationship Id="rId2" Type="http://schemas.openxmlformats.org/officeDocument/2006/relationships/notesSlide" Target="../notesSlides/notesSlide6.xml"/><Relationship Id="rId1" Type="http://schemas.openxmlformats.org/officeDocument/2006/relationships/slideLayout" Target="../slideLayouts/slideLayout1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0C6F02C-4AD3-D949-9793-8C32DAE6102A}"/>
              </a:ext>
            </a:extLst>
          </p:cNvPr>
          <p:cNvSpPr/>
          <p:nvPr/>
        </p:nvSpPr>
        <p:spPr>
          <a:xfrm>
            <a:off x="375473" y="2859614"/>
            <a:ext cx="7019626" cy="1138773"/>
          </a:xfrm>
          <a:prstGeom prst="rect">
            <a:avLst/>
          </a:prstGeom>
        </p:spPr>
        <p:txBody>
          <a:bodyPr>
            <a:noAutofit/>
          </a:bodyPr>
          <a:lstStyle/>
          <a:p>
            <a:r>
              <a:rPr lang="en-US" sz="3200" b="1" dirty="0">
                <a:latin typeface="+mj-lt"/>
                <a:cs typeface="Segoe UI" panose="020B0502040204020203" pitchFamily="34" charset="0"/>
              </a:rPr>
              <a:t>Introducing Power BI</a:t>
            </a:r>
            <a:endParaRPr lang="tr-TR" sz="2400" dirty="0">
              <a:latin typeface="+mj-lt"/>
              <a:cs typeface="Segoe UI" panose="020B0502040204020203" pitchFamily="34" charset="0"/>
            </a:endParaRPr>
          </a:p>
        </p:txBody>
      </p:sp>
      <p:sp>
        <p:nvSpPr>
          <p:cNvPr id="10" name="Oval 9">
            <a:extLst>
              <a:ext uri="{FF2B5EF4-FFF2-40B4-BE49-F238E27FC236}">
                <a16:creationId xmlns:a16="http://schemas.microsoft.com/office/drawing/2014/main" id="{70E628E1-08A4-6C40-915E-E2F2EC1C46A7}"/>
              </a:ext>
            </a:extLst>
          </p:cNvPr>
          <p:cNvSpPr/>
          <p:nvPr/>
        </p:nvSpPr>
        <p:spPr>
          <a:xfrm rot="16200000">
            <a:off x="408202" y="436374"/>
            <a:ext cx="1344118" cy="1344118"/>
          </a:xfrm>
          <a:prstGeom prst="ellipse">
            <a:avLst/>
          </a:prstGeom>
          <a:noFill/>
          <a:ln w="38100">
            <a:gradFill flip="none" rotWithShape="1">
              <a:gsLst>
                <a:gs pos="0">
                  <a:srgbClr val="557FC6"/>
                </a:gs>
                <a:gs pos="35000">
                  <a:srgbClr val="6E96E2"/>
                </a:gs>
                <a:gs pos="83000">
                  <a:srgbClr val="0070C0"/>
                </a:gs>
                <a:gs pos="100000">
                  <a:srgbClr val="74A5F4"/>
                </a:gs>
              </a:gsLst>
              <a:path path="circle">
                <a:fillToRect l="100000" t="100000"/>
              </a:path>
              <a:tileRect r="-100000" b="-10000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pic>
        <p:nvPicPr>
          <p:cNvPr id="12" name="Picture 11">
            <a:extLst>
              <a:ext uri="{FF2B5EF4-FFF2-40B4-BE49-F238E27FC236}">
                <a16:creationId xmlns:a16="http://schemas.microsoft.com/office/drawing/2014/main" id="{969F3813-99A6-F248-AC4C-6E4CB2FAD6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0149" y="720707"/>
            <a:ext cx="1010204" cy="775449"/>
          </a:xfrm>
          <a:prstGeom prst="rect">
            <a:avLst/>
          </a:prstGeom>
        </p:spPr>
      </p:pic>
      <p:cxnSp>
        <p:nvCxnSpPr>
          <p:cNvPr id="16" name="Straight Connector 15">
            <a:extLst>
              <a:ext uri="{FF2B5EF4-FFF2-40B4-BE49-F238E27FC236}">
                <a16:creationId xmlns:a16="http://schemas.microsoft.com/office/drawing/2014/main" id="{11966905-4D69-914E-A96C-8F66AAD2D30A}"/>
              </a:ext>
            </a:extLst>
          </p:cNvPr>
          <p:cNvCxnSpPr>
            <a:cxnSpLocks/>
            <a:stCxn id="10" idx="1"/>
          </p:cNvCxnSpPr>
          <p:nvPr/>
        </p:nvCxnSpPr>
        <p:spPr>
          <a:xfrm flipH="1">
            <a:off x="-223284" y="1583650"/>
            <a:ext cx="828328" cy="877787"/>
          </a:xfrm>
          <a:prstGeom prst="line">
            <a:avLst/>
          </a:prstGeom>
          <a:ln w="38100">
            <a:gradFill>
              <a:gsLst>
                <a:gs pos="34000">
                  <a:srgbClr val="0974C3"/>
                </a:gs>
                <a:gs pos="80000">
                  <a:srgbClr val="FFFFFF">
                    <a:lumMod val="41000"/>
                    <a:lumOff val="59000"/>
                    <a:alpha val="0"/>
                  </a:srgb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967136A-5D6D-704B-B67F-95D8E4468C5B}"/>
              </a:ext>
            </a:extLst>
          </p:cNvPr>
          <p:cNvCxnSpPr>
            <a:cxnSpLocks/>
            <a:stCxn id="10" idx="5"/>
          </p:cNvCxnSpPr>
          <p:nvPr/>
        </p:nvCxnSpPr>
        <p:spPr>
          <a:xfrm flipV="1">
            <a:off x="1555478" y="-142233"/>
            <a:ext cx="680661" cy="775449"/>
          </a:xfrm>
          <a:prstGeom prst="line">
            <a:avLst/>
          </a:prstGeom>
          <a:ln w="12700">
            <a:gradFill>
              <a:gsLst>
                <a:gs pos="100000">
                  <a:srgbClr val="FFFFFF">
                    <a:alpha val="0"/>
                  </a:srgbClr>
                </a:gs>
                <a:gs pos="0">
                  <a:srgbClr val="6189D3"/>
                </a:gs>
              </a:gsLst>
              <a:lin ang="5400000" scaled="1"/>
            </a:gradFill>
            <a:tailEnd type="ova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1D5E5E7-EB70-DD4F-999B-F31E397C0C9F}"/>
              </a:ext>
            </a:extLst>
          </p:cNvPr>
          <p:cNvCxnSpPr>
            <a:cxnSpLocks/>
            <a:stCxn id="10" idx="7"/>
          </p:cNvCxnSpPr>
          <p:nvPr/>
        </p:nvCxnSpPr>
        <p:spPr>
          <a:xfrm flipH="1" flipV="1">
            <a:off x="-888936" y="-415550"/>
            <a:ext cx="1493980" cy="1048766"/>
          </a:xfrm>
          <a:prstGeom prst="line">
            <a:avLst/>
          </a:prstGeom>
          <a:ln w="38100">
            <a:gradFill>
              <a:gsLst>
                <a:gs pos="34000">
                  <a:srgbClr val="3581CE"/>
                </a:gs>
                <a:gs pos="80000">
                  <a:srgbClr val="85A6F1">
                    <a:alpha val="0"/>
                  </a:srgb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8E896C3-C70B-F349-9F76-070FEA61048E}"/>
              </a:ext>
            </a:extLst>
          </p:cNvPr>
          <p:cNvCxnSpPr>
            <a:cxnSpLocks/>
            <a:stCxn id="10" idx="4"/>
          </p:cNvCxnSpPr>
          <p:nvPr/>
        </p:nvCxnSpPr>
        <p:spPr>
          <a:xfrm>
            <a:off x="1752320" y="1108433"/>
            <a:ext cx="302324" cy="0"/>
          </a:xfrm>
          <a:prstGeom prst="line">
            <a:avLst/>
          </a:prstGeom>
          <a:ln w="12700">
            <a:gradFill>
              <a:gsLst>
                <a:gs pos="77000">
                  <a:srgbClr val="0671C0"/>
                </a:gs>
                <a:gs pos="16000">
                  <a:srgbClr val="6D95E1"/>
                </a:gs>
              </a:gsLst>
              <a:lin ang="0" scaled="0"/>
            </a:gradFill>
            <a:tailEnd type="ova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27697F1A-5FE6-5848-BFEC-E98C56923C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6083" y="5891423"/>
            <a:ext cx="1860666" cy="682244"/>
          </a:xfrm>
          <a:prstGeom prst="rect">
            <a:avLst/>
          </a:prstGeom>
        </p:spPr>
      </p:pic>
      <p:sp>
        <p:nvSpPr>
          <p:cNvPr id="2" name="Text Placeholder 4">
            <a:extLst>
              <a:ext uri="{FF2B5EF4-FFF2-40B4-BE49-F238E27FC236}">
                <a16:creationId xmlns:a16="http://schemas.microsoft.com/office/drawing/2014/main" id="{2C3E54FF-ED7A-4CB6-8FBE-A76F4E65969A}"/>
              </a:ext>
            </a:extLst>
          </p:cNvPr>
          <p:cNvSpPr txBox="1">
            <a:spLocks/>
          </p:cNvSpPr>
          <p:nvPr/>
        </p:nvSpPr>
        <p:spPr>
          <a:xfrm>
            <a:off x="375473" y="4280045"/>
            <a:ext cx="5413394" cy="1046440"/>
          </a:xfrm>
          <a:prstGeom prst="rect">
            <a:avLst/>
          </a:prstGeom>
        </p:spPr>
        <p:txBody>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spc="-13" dirty="0">
                <a:solidFill>
                  <a:schemeClr val="tx1"/>
                </a:solidFill>
                <a:latin typeface="+mn-lt"/>
                <a:ea typeface="ＭＳ Ｐゴシック" charset="0"/>
                <a:cs typeface="Segoe UI" panose="020B0502040204020203" pitchFamily="34" charset="0"/>
              </a:rPr>
              <a:t>Kyle Akepanidtaworn</a:t>
            </a:r>
          </a:p>
          <a:p>
            <a:r>
              <a:rPr lang="en-US" sz="1400" spc="-13" dirty="0">
                <a:solidFill>
                  <a:schemeClr val="tx1"/>
                </a:solidFill>
                <a:latin typeface="+mn-lt"/>
                <a:ea typeface="ＭＳ Ｐゴシック" charset="0"/>
                <a:cs typeface="Segoe UI" panose="020B0502040204020203" pitchFamily="34" charset="0"/>
              </a:rPr>
              <a:t>Global Cloud Solution Architect (Data Platform &amp; AI) </a:t>
            </a:r>
          </a:p>
          <a:p>
            <a:r>
              <a:rPr lang="en-US" sz="1400" spc="-13" dirty="0">
                <a:solidFill>
                  <a:schemeClr val="tx1"/>
                </a:solidFill>
                <a:latin typeface="+mn-lt"/>
                <a:ea typeface="ＭＳ Ｐゴシック" charset="0"/>
                <a:cs typeface="Segoe UI" panose="020B0502040204020203" pitchFamily="34" charset="0"/>
              </a:rPr>
              <a:t>GSMO Digital Transformation Partnerships Team</a:t>
            </a:r>
          </a:p>
          <a:p>
            <a:r>
              <a:rPr lang="en-US" sz="1400" spc="-13" dirty="0">
                <a:solidFill>
                  <a:schemeClr val="tx1"/>
                </a:solidFill>
                <a:latin typeface="+mn-lt"/>
                <a:ea typeface="ＭＳ Ｐゴシック" charset="0"/>
                <a:cs typeface="Segoe UI" panose="020B0502040204020203" pitchFamily="34" charset="0"/>
                <a:hlinkClick r:id="rId5"/>
              </a:rPr>
              <a:t>koakepan@microsoft.com</a:t>
            </a:r>
            <a:r>
              <a:rPr lang="en-US" sz="1400" spc="-13" dirty="0">
                <a:solidFill>
                  <a:schemeClr val="tx1"/>
                </a:solidFill>
                <a:latin typeface="+mn-lt"/>
                <a:ea typeface="ＭＳ Ｐゴシック" charset="0"/>
                <a:cs typeface="Segoe UI" panose="020B0502040204020203" pitchFamily="34" charset="0"/>
              </a:rPr>
              <a:t> </a:t>
            </a:r>
          </a:p>
        </p:txBody>
      </p:sp>
    </p:spTree>
    <p:extLst>
      <p:ext uri="{BB962C8B-B14F-4D97-AF65-F5344CB8AC3E}">
        <p14:creationId xmlns:p14="http://schemas.microsoft.com/office/powerpoint/2010/main" val="33311369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C8373AA-99BF-408B-95CF-F38B0C21ED7C}"/>
              </a:ext>
            </a:extLst>
          </p:cNvPr>
          <p:cNvGrpSpPr/>
          <p:nvPr/>
        </p:nvGrpSpPr>
        <p:grpSpPr>
          <a:xfrm>
            <a:off x="269241" y="1477439"/>
            <a:ext cx="11624955" cy="3999738"/>
            <a:chOff x="274639" y="1280715"/>
            <a:chExt cx="11858060" cy="4079941"/>
          </a:xfrm>
        </p:grpSpPr>
        <p:sp>
          <p:nvSpPr>
            <p:cNvPr id="14" name="Rectangle 13"/>
            <p:cNvSpPr/>
            <p:nvPr/>
          </p:nvSpPr>
          <p:spPr>
            <a:xfrm>
              <a:off x="6258602" y="1336114"/>
              <a:ext cx="3402226" cy="424732"/>
            </a:xfrm>
            <a:prstGeom prst="rect">
              <a:avLst/>
            </a:prstGeom>
          </p:spPr>
          <p:txBody>
            <a:bodyPr wrap="square" anchor="ctr" anchorCtr="0">
              <a:spAutoFit/>
            </a:bodyPr>
            <a:lstStyle/>
            <a:p>
              <a:pPr marL="0" lvl="1" algn="ctr" defTabSz="914178">
                <a:lnSpc>
                  <a:spcPct val="90000"/>
                </a:lnSpc>
                <a:defRPr/>
              </a:pPr>
              <a:r>
                <a:rPr lang="en-US" sz="2353">
                  <a:gradFill>
                    <a:gsLst>
                      <a:gs pos="1250">
                        <a:srgbClr val="353535"/>
                      </a:gs>
                      <a:gs pos="100000">
                        <a:srgbClr val="353535"/>
                      </a:gs>
                    </a:gsLst>
                    <a:lin ang="5400000" scaled="0"/>
                  </a:gradFill>
                  <a:latin typeface="Segoe UI Light"/>
                  <a:cs typeface="Segoe UI" panose="020B0502040204020203" pitchFamily="34" charset="0"/>
                </a:rPr>
                <a:t>Deployment option</a:t>
              </a:r>
            </a:p>
          </p:txBody>
        </p:sp>
        <p:sp>
          <p:nvSpPr>
            <p:cNvPr id="16" name="Rectangle 15"/>
            <p:cNvSpPr/>
            <p:nvPr/>
          </p:nvSpPr>
          <p:spPr>
            <a:xfrm>
              <a:off x="6705601" y="1834396"/>
              <a:ext cx="2468880" cy="341632"/>
            </a:xfrm>
            <a:prstGeom prst="rect">
              <a:avLst/>
            </a:prstGeom>
          </p:spPr>
          <p:txBody>
            <a:bodyPr wrap="square" anchor="ctr" anchorCtr="0">
              <a:spAutoFit/>
            </a:bodyPr>
            <a:lstStyle/>
            <a:p>
              <a:pPr algn="ctr" defTabSz="914367">
                <a:lnSpc>
                  <a:spcPct val="90000"/>
                </a:lnSpc>
                <a:spcBef>
                  <a:spcPts val="587"/>
                </a:spcBef>
                <a:defRPr/>
              </a:pPr>
              <a:r>
                <a:rPr lang="en-US" sz="1765">
                  <a:gradFill>
                    <a:gsLst>
                      <a:gs pos="1250">
                        <a:srgbClr val="353535"/>
                      </a:gs>
                      <a:gs pos="100000">
                        <a:srgbClr val="353535"/>
                      </a:gs>
                    </a:gsLst>
                    <a:lin ang="5400000" scaled="0"/>
                  </a:gradFill>
                  <a:latin typeface="Segoe UI Semilight"/>
                  <a:cs typeface="Segoe UI" panose="020B0502040204020203" pitchFamily="34" charset="0"/>
                </a:rPr>
                <a:t>PaaS</a:t>
              </a:r>
            </a:p>
          </p:txBody>
        </p:sp>
        <p:sp>
          <p:nvSpPr>
            <p:cNvPr id="15" name="Rectangle 14"/>
            <p:cNvSpPr/>
            <p:nvPr/>
          </p:nvSpPr>
          <p:spPr bwMode="auto">
            <a:xfrm>
              <a:off x="6705601" y="1769356"/>
              <a:ext cx="2468880" cy="0"/>
            </a:xfrm>
            <a:prstGeom prst="rect">
              <a:avLst/>
            </a:prstGeom>
            <a:noFill/>
            <a:ln w="539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1" rIns="0" bIns="45721" numCol="1" rtlCol="0" anchor="ctr" anchorCtr="0" compatLnSpc="1">
              <a:prstTxWarp prst="textNoShape">
                <a:avLst/>
              </a:prstTxWarp>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34" name="Rectangle 33"/>
            <p:cNvSpPr/>
            <p:nvPr/>
          </p:nvSpPr>
          <p:spPr>
            <a:xfrm>
              <a:off x="6705601" y="2306105"/>
              <a:ext cx="2468880" cy="341632"/>
            </a:xfrm>
            <a:prstGeom prst="rect">
              <a:avLst/>
            </a:prstGeom>
          </p:spPr>
          <p:txBody>
            <a:bodyPr wrap="square" anchor="ctr" anchorCtr="0">
              <a:spAutoFit/>
            </a:bodyPr>
            <a:lstStyle/>
            <a:p>
              <a:pPr algn="ctr" defTabSz="914367">
                <a:lnSpc>
                  <a:spcPct val="90000"/>
                </a:lnSpc>
                <a:spcBef>
                  <a:spcPts val="587"/>
                </a:spcBef>
                <a:defRPr/>
              </a:pPr>
              <a:r>
                <a:rPr lang="en-US" sz="1765">
                  <a:gradFill>
                    <a:gsLst>
                      <a:gs pos="1250">
                        <a:srgbClr val="353535"/>
                      </a:gs>
                      <a:gs pos="100000">
                        <a:srgbClr val="353535"/>
                      </a:gs>
                    </a:gsLst>
                    <a:lin ang="5400000" scaled="0"/>
                  </a:gradFill>
                  <a:latin typeface="Segoe UI Semilight"/>
                  <a:cs typeface="Segoe UI" panose="020B0502040204020203" pitchFamily="34" charset="0"/>
                </a:rPr>
                <a:t>PaaS</a:t>
              </a:r>
            </a:p>
          </p:txBody>
        </p:sp>
        <p:sp>
          <p:nvSpPr>
            <p:cNvPr id="35" name="Rectangle 34"/>
            <p:cNvSpPr/>
            <p:nvPr/>
          </p:nvSpPr>
          <p:spPr bwMode="auto">
            <a:xfrm>
              <a:off x="6705601" y="2241065"/>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41" name="Rectangle 40"/>
            <p:cNvSpPr/>
            <p:nvPr/>
          </p:nvSpPr>
          <p:spPr>
            <a:xfrm>
              <a:off x="6705601" y="2777814"/>
              <a:ext cx="2468880" cy="341632"/>
            </a:xfrm>
            <a:prstGeom prst="rect">
              <a:avLst/>
            </a:prstGeom>
          </p:spPr>
          <p:txBody>
            <a:bodyPr wrap="square" anchor="ctr" anchorCtr="0">
              <a:spAutoFit/>
            </a:bodyPr>
            <a:lstStyle/>
            <a:p>
              <a:pPr algn="ctr" defTabSz="914367">
                <a:lnSpc>
                  <a:spcPct val="90000"/>
                </a:lnSpc>
                <a:spcBef>
                  <a:spcPts val="587"/>
                </a:spcBef>
                <a:defRPr/>
              </a:pPr>
              <a:r>
                <a:rPr lang="en-US" sz="1765">
                  <a:gradFill>
                    <a:gsLst>
                      <a:gs pos="1250">
                        <a:srgbClr val="353535"/>
                      </a:gs>
                      <a:gs pos="100000">
                        <a:srgbClr val="353535"/>
                      </a:gs>
                    </a:gsLst>
                    <a:lin ang="5400000" scaled="0"/>
                  </a:gradFill>
                  <a:latin typeface="Segoe UI Semilight"/>
                  <a:cs typeface="Segoe UI" panose="020B0502040204020203" pitchFamily="34" charset="0"/>
                </a:rPr>
                <a:t>PaaS</a:t>
              </a:r>
            </a:p>
          </p:txBody>
        </p:sp>
        <p:sp>
          <p:nvSpPr>
            <p:cNvPr id="42" name="Rectangle 41"/>
            <p:cNvSpPr/>
            <p:nvPr/>
          </p:nvSpPr>
          <p:spPr bwMode="auto">
            <a:xfrm>
              <a:off x="6705601" y="2712774"/>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57" name="Rectangle 56"/>
            <p:cNvSpPr/>
            <p:nvPr/>
          </p:nvSpPr>
          <p:spPr>
            <a:xfrm>
              <a:off x="6705601" y="3249523"/>
              <a:ext cx="2468880" cy="341632"/>
            </a:xfrm>
            <a:prstGeom prst="rect">
              <a:avLst/>
            </a:prstGeom>
          </p:spPr>
          <p:txBody>
            <a:bodyPr wrap="square" anchor="ctr" anchorCtr="0">
              <a:spAutoFit/>
            </a:bodyPr>
            <a:lstStyle/>
            <a:p>
              <a:pPr algn="ctr" defTabSz="914367">
                <a:lnSpc>
                  <a:spcPct val="90000"/>
                </a:lnSpc>
                <a:spcBef>
                  <a:spcPts val="587"/>
                </a:spcBef>
                <a:defRPr/>
              </a:pPr>
              <a:r>
                <a:rPr lang="en-US" sz="1765">
                  <a:gradFill>
                    <a:gsLst>
                      <a:gs pos="1250">
                        <a:srgbClr val="353535"/>
                      </a:gs>
                      <a:gs pos="100000">
                        <a:srgbClr val="353535"/>
                      </a:gs>
                    </a:gsLst>
                    <a:lin ang="5400000" scaled="0"/>
                  </a:gradFill>
                  <a:latin typeface="Segoe UI Semilight"/>
                  <a:cs typeface="Segoe UI" panose="020B0502040204020203" pitchFamily="34" charset="0"/>
                </a:rPr>
                <a:t>SaaS or PaaS</a:t>
              </a:r>
            </a:p>
          </p:txBody>
        </p:sp>
        <p:sp>
          <p:nvSpPr>
            <p:cNvPr id="58" name="Rectangle 57"/>
            <p:cNvSpPr/>
            <p:nvPr/>
          </p:nvSpPr>
          <p:spPr>
            <a:xfrm>
              <a:off x="6705601" y="3721232"/>
              <a:ext cx="2468880" cy="341632"/>
            </a:xfrm>
            <a:prstGeom prst="rect">
              <a:avLst/>
            </a:prstGeom>
          </p:spPr>
          <p:txBody>
            <a:bodyPr wrap="square" anchor="ctr" anchorCtr="0">
              <a:spAutoFit/>
            </a:bodyPr>
            <a:lstStyle/>
            <a:p>
              <a:pPr algn="ctr" defTabSz="914367">
                <a:lnSpc>
                  <a:spcPct val="90000"/>
                </a:lnSpc>
                <a:spcBef>
                  <a:spcPts val="587"/>
                </a:spcBef>
                <a:defRPr/>
              </a:pPr>
              <a:r>
                <a:rPr lang="en-US" sz="1765">
                  <a:gradFill>
                    <a:gsLst>
                      <a:gs pos="1250">
                        <a:srgbClr val="353535"/>
                      </a:gs>
                      <a:gs pos="100000">
                        <a:srgbClr val="353535"/>
                      </a:gs>
                    </a:gsLst>
                    <a:lin ang="5400000" scaled="0"/>
                  </a:gradFill>
                  <a:latin typeface="Segoe UI Semilight"/>
                  <a:cs typeface="Segoe UI" panose="020B0502040204020203" pitchFamily="34" charset="0"/>
                </a:rPr>
                <a:t>SaaS or PaaS</a:t>
              </a:r>
            </a:p>
          </p:txBody>
        </p:sp>
        <p:sp>
          <p:nvSpPr>
            <p:cNvPr id="59" name="Rectangle 58"/>
            <p:cNvSpPr/>
            <p:nvPr/>
          </p:nvSpPr>
          <p:spPr bwMode="auto">
            <a:xfrm>
              <a:off x="6705601" y="3656192"/>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60" name="Rectangle 59"/>
            <p:cNvSpPr/>
            <p:nvPr/>
          </p:nvSpPr>
          <p:spPr>
            <a:xfrm>
              <a:off x="6705601" y="4192937"/>
              <a:ext cx="2468880" cy="341632"/>
            </a:xfrm>
            <a:prstGeom prst="rect">
              <a:avLst/>
            </a:prstGeom>
          </p:spPr>
          <p:txBody>
            <a:bodyPr wrap="square" anchor="ctr" anchorCtr="0">
              <a:spAutoFit/>
            </a:bodyPr>
            <a:lstStyle/>
            <a:p>
              <a:pPr algn="ctr" defTabSz="914367">
                <a:lnSpc>
                  <a:spcPct val="90000"/>
                </a:lnSpc>
                <a:spcBef>
                  <a:spcPts val="587"/>
                </a:spcBef>
                <a:defRPr/>
              </a:pPr>
              <a:r>
                <a:rPr lang="en-US" sz="1765">
                  <a:gradFill>
                    <a:gsLst>
                      <a:gs pos="1250">
                        <a:srgbClr val="353535"/>
                      </a:gs>
                      <a:gs pos="100000">
                        <a:srgbClr val="353535"/>
                      </a:gs>
                    </a:gsLst>
                    <a:lin ang="5400000" scaled="0"/>
                  </a:gradFill>
                  <a:latin typeface="Segoe UI Semilight"/>
                  <a:cs typeface="Segoe UI" panose="020B0502040204020203" pitchFamily="34" charset="0"/>
                </a:rPr>
                <a:t>SaaS or PaaS</a:t>
              </a:r>
            </a:p>
          </p:txBody>
        </p:sp>
        <p:sp>
          <p:nvSpPr>
            <p:cNvPr id="61" name="Rectangle 60"/>
            <p:cNvSpPr/>
            <p:nvPr/>
          </p:nvSpPr>
          <p:spPr bwMode="auto">
            <a:xfrm>
              <a:off x="6705601" y="4127901"/>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72" name="Rectangle 71"/>
            <p:cNvSpPr/>
            <p:nvPr/>
          </p:nvSpPr>
          <p:spPr bwMode="auto">
            <a:xfrm>
              <a:off x="6705601" y="3184483"/>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18" name="Rectangle 17"/>
            <p:cNvSpPr/>
            <p:nvPr/>
          </p:nvSpPr>
          <p:spPr>
            <a:xfrm>
              <a:off x="3901441" y="1280715"/>
              <a:ext cx="2468880" cy="480131"/>
            </a:xfrm>
            <a:prstGeom prst="rect">
              <a:avLst/>
            </a:prstGeom>
          </p:spPr>
          <p:txBody>
            <a:bodyPr wrap="square" anchor="ctr" anchorCtr="0">
              <a:spAutoFit/>
            </a:bodyPr>
            <a:lstStyle/>
            <a:p>
              <a:pPr marL="0" lvl="1" algn="ctr" defTabSz="914178">
                <a:lnSpc>
                  <a:spcPct val="90000"/>
                </a:lnSpc>
                <a:defRPr/>
              </a:pPr>
              <a:r>
                <a:rPr lang="en-US" sz="2353">
                  <a:gradFill>
                    <a:gsLst>
                      <a:gs pos="1250">
                        <a:srgbClr val="353535"/>
                      </a:gs>
                      <a:gs pos="100000">
                        <a:srgbClr val="353535"/>
                      </a:gs>
                    </a:gsLst>
                    <a:lin ang="5400000" scaled="0"/>
                  </a:gradFill>
                  <a:latin typeface="Segoe UI Light"/>
                  <a:cs typeface="Segoe UI" panose="020B0502040204020203" pitchFamily="34" charset="0"/>
                </a:rPr>
                <a:t>Virtual</a:t>
              </a:r>
              <a:r>
                <a:rPr lang="en-US" sz="2745">
                  <a:gradFill>
                    <a:gsLst>
                      <a:gs pos="1250">
                        <a:srgbClr val="353535"/>
                      </a:gs>
                      <a:gs pos="100000">
                        <a:srgbClr val="353535"/>
                      </a:gs>
                    </a:gsLst>
                    <a:lin ang="5400000" scaled="0"/>
                  </a:gradFill>
                  <a:latin typeface="Segoe UI Light"/>
                  <a:cs typeface="Segoe UI" panose="020B0502040204020203" pitchFamily="34" charset="0"/>
                </a:rPr>
                <a:t> </a:t>
              </a:r>
              <a:r>
                <a:rPr lang="en-US" sz="2353">
                  <a:gradFill>
                    <a:gsLst>
                      <a:gs pos="1250">
                        <a:srgbClr val="353535"/>
                      </a:gs>
                      <a:gs pos="100000">
                        <a:srgbClr val="353535"/>
                      </a:gs>
                    </a:gsLst>
                    <a:lin ang="5400000" scaled="0"/>
                  </a:gradFill>
                  <a:latin typeface="Segoe UI Light"/>
                  <a:cs typeface="Segoe UI" panose="020B0502040204020203" pitchFamily="34" charset="0"/>
                </a:rPr>
                <a:t>cores</a:t>
              </a:r>
              <a:r>
                <a:rPr lang="en-US" sz="1765" baseline="3000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1</a:t>
              </a:r>
              <a:endParaRPr lang="en-US" sz="1765">
                <a:gradFill>
                  <a:gsLst>
                    <a:gs pos="1250">
                      <a:srgbClr val="353535"/>
                    </a:gs>
                    <a:gs pos="100000">
                      <a:srgbClr val="353535"/>
                    </a:gs>
                  </a:gsLst>
                  <a:lin ang="5400000" scaled="0"/>
                </a:gradFill>
                <a:latin typeface="Segoe UI Light"/>
                <a:cs typeface="Segoe UI" panose="020B0502040204020203" pitchFamily="34" charset="0"/>
              </a:endParaRPr>
            </a:p>
          </p:txBody>
        </p:sp>
        <p:sp>
          <p:nvSpPr>
            <p:cNvPr id="19" name="Rectangle 18"/>
            <p:cNvSpPr/>
            <p:nvPr/>
          </p:nvSpPr>
          <p:spPr bwMode="auto">
            <a:xfrm>
              <a:off x="3901441" y="1769356"/>
              <a:ext cx="2468880" cy="0"/>
            </a:xfrm>
            <a:prstGeom prst="rect">
              <a:avLst/>
            </a:prstGeom>
            <a:noFill/>
            <a:ln w="539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1" rIns="0" bIns="45721" numCol="1" rtlCol="0" anchor="ctr" anchorCtr="0" compatLnSpc="1">
              <a:prstTxWarp prst="textNoShape">
                <a:avLst/>
              </a:prstTxWarp>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20" name="Rectangle 19"/>
            <p:cNvSpPr/>
            <p:nvPr/>
          </p:nvSpPr>
          <p:spPr>
            <a:xfrm>
              <a:off x="3901441" y="1834396"/>
              <a:ext cx="2468880" cy="341632"/>
            </a:xfrm>
            <a:prstGeom prst="rect">
              <a:avLst/>
            </a:prstGeom>
          </p:spPr>
          <p:txBody>
            <a:bodyPr wrap="square" anchor="ctr" anchorCtr="0">
              <a:spAutoFit/>
            </a:bodyPr>
            <a:lstStyle/>
            <a:p>
              <a:pPr algn="ctr" defTabSz="914367">
                <a:lnSpc>
                  <a:spcPct val="90000"/>
                </a:lnSpc>
                <a:spcBef>
                  <a:spcPts val="587"/>
                </a:spcBef>
                <a:defRPr/>
              </a:pPr>
              <a:r>
                <a:rPr lang="en-US" sz="1765">
                  <a:gradFill>
                    <a:gsLst>
                      <a:gs pos="1250">
                        <a:srgbClr val="353535"/>
                      </a:gs>
                      <a:gs pos="100000">
                        <a:srgbClr val="353535"/>
                      </a:gs>
                    </a:gsLst>
                    <a:lin ang="5400000" scaled="0"/>
                  </a:gradFill>
                  <a:latin typeface="Segoe UI Semilight"/>
                  <a:cs typeface="Segoe UI" panose="020B0502040204020203" pitchFamily="34" charset="0"/>
                </a:rPr>
                <a:t>1</a:t>
              </a:r>
            </a:p>
          </p:txBody>
        </p:sp>
        <p:sp>
          <p:nvSpPr>
            <p:cNvPr id="36" name="Rectangle 35"/>
            <p:cNvSpPr/>
            <p:nvPr/>
          </p:nvSpPr>
          <p:spPr bwMode="auto">
            <a:xfrm>
              <a:off x="3901441" y="2241065"/>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37" name="Rectangle 36"/>
            <p:cNvSpPr/>
            <p:nvPr/>
          </p:nvSpPr>
          <p:spPr>
            <a:xfrm>
              <a:off x="3901441" y="2306105"/>
              <a:ext cx="2468880" cy="341632"/>
            </a:xfrm>
            <a:prstGeom prst="rect">
              <a:avLst/>
            </a:prstGeom>
          </p:spPr>
          <p:txBody>
            <a:bodyPr wrap="square" anchor="ctr" anchorCtr="0">
              <a:spAutoFit/>
            </a:bodyPr>
            <a:lstStyle/>
            <a:p>
              <a:pPr algn="ctr" defTabSz="914367">
                <a:lnSpc>
                  <a:spcPct val="90000"/>
                </a:lnSpc>
                <a:spcBef>
                  <a:spcPts val="587"/>
                </a:spcBef>
                <a:defRPr/>
              </a:pPr>
              <a:r>
                <a:rPr lang="en-US" sz="1765">
                  <a:gradFill>
                    <a:gsLst>
                      <a:gs pos="1250">
                        <a:srgbClr val="353535"/>
                      </a:gs>
                      <a:gs pos="100000">
                        <a:srgbClr val="353535"/>
                      </a:gs>
                    </a:gsLst>
                    <a:lin ang="5400000" scaled="0"/>
                  </a:gradFill>
                  <a:latin typeface="Segoe UI Semilight"/>
                  <a:cs typeface="Segoe UI" panose="020B0502040204020203" pitchFamily="34" charset="0"/>
                </a:rPr>
                <a:t>2</a:t>
              </a:r>
            </a:p>
          </p:txBody>
        </p:sp>
        <p:sp>
          <p:nvSpPr>
            <p:cNvPr id="43" name="Rectangle 42"/>
            <p:cNvSpPr/>
            <p:nvPr/>
          </p:nvSpPr>
          <p:spPr bwMode="auto">
            <a:xfrm>
              <a:off x="3901441" y="2712774"/>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44" name="Rectangle 43"/>
            <p:cNvSpPr/>
            <p:nvPr/>
          </p:nvSpPr>
          <p:spPr>
            <a:xfrm>
              <a:off x="3901441" y="2777814"/>
              <a:ext cx="2468880" cy="341632"/>
            </a:xfrm>
            <a:prstGeom prst="rect">
              <a:avLst/>
            </a:prstGeom>
          </p:spPr>
          <p:txBody>
            <a:bodyPr wrap="square" anchor="ctr" anchorCtr="0">
              <a:spAutoFit/>
            </a:bodyPr>
            <a:lstStyle/>
            <a:p>
              <a:pPr algn="ctr" defTabSz="914367">
                <a:lnSpc>
                  <a:spcPct val="90000"/>
                </a:lnSpc>
                <a:spcBef>
                  <a:spcPts val="587"/>
                </a:spcBef>
                <a:defRPr/>
              </a:pPr>
              <a:r>
                <a:rPr lang="en-US" sz="1765">
                  <a:gradFill>
                    <a:gsLst>
                      <a:gs pos="1250">
                        <a:srgbClr val="353535"/>
                      </a:gs>
                      <a:gs pos="100000">
                        <a:srgbClr val="353535"/>
                      </a:gs>
                    </a:gsLst>
                    <a:lin ang="5400000" scaled="0"/>
                  </a:gradFill>
                  <a:latin typeface="Segoe UI Semilight"/>
                  <a:cs typeface="Segoe UI" panose="020B0502040204020203" pitchFamily="34" charset="0"/>
                </a:rPr>
                <a:t>4</a:t>
              </a:r>
            </a:p>
          </p:txBody>
        </p:sp>
        <p:sp>
          <p:nvSpPr>
            <p:cNvPr id="62" name="Rectangle 61"/>
            <p:cNvSpPr/>
            <p:nvPr/>
          </p:nvSpPr>
          <p:spPr>
            <a:xfrm>
              <a:off x="3901441" y="3249523"/>
              <a:ext cx="2468880" cy="341632"/>
            </a:xfrm>
            <a:prstGeom prst="rect">
              <a:avLst/>
            </a:prstGeom>
          </p:spPr>
          <p:txBody>
            <a:bodyPr wrap="square" anchor="ctr" anchorCtr="0">
              <a:spAutoFit/>
            </a:bodyPr>
            <a:lstStyle/>
            <a:p>
              <a:pPr algn="ctr" defTabSz="914367">
                <a:lnSpc>
                  <a:spcPct val="90000"/>
                </a:lnSpc>
                <a:spcBef>
                  <a:spcPts val="587"/>
                </a:spcBef>
                <a:defRPr/>
              </a:pPr>
              <a:r>
                <a:rPr lang="en-US" sz="1765">
                  <a:gradFill>
                    <a:gsLst>
                      <a:gs pos="1250">
                        <a:srgbClr val="353535"/>
                      </a:gs>
                      <a:gs pos="100000">
                        <a:srgbClr val="353535"/>
                      </a:gs>
                    </a:gsLst>
                    <a:lin ang="5400000" scaled="0"/>
                  </a:gradFill>
                  <a:latin typeface="Segoe UI Semilight"/>
                  <a:cs typeface="Segoe UI" panose="020B0502040204020203" pitchFamily="34" charset="0"/>
                </a:rPr>
                <a:t>8</a:t>
              </a:r>
            </a:p>
          </p:txBody>
        </p:sp>
        <p:sp>
          <p:nvSpPr>
            <p:cNvPr id="63" name="Rectangle 62"/>
            <p:cNvSpPr/>
            <p:nvPr/>
          </p:nvSpPr>
          <p:spPr bwMode="auto">
            <a:xfrm>
              <a:off x="3901441" y="3656192"/>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64" name="Rectangle 63"/>
            <p:cNvSpPr/>
            <p:nvPr/>
          </p:nvSpPr>
          <p:spPr>
            <a:xfrm>
              <a:off x="3901441" y="3721232"/>
              <a:ext cx="2468880" cy="341632"/>
            </a:xfrm>
            <a:prstGeom prst="rect">
              <a:avLst/>
            </a:prstGeom>
          </p:spPr>
          <p:txBody>
            <a:bodyPr wrap="square" anchor="ctr" anchorCtr="0">
              <a:spAutoFit/>
            </a:bodyPr>
            <a:lstStyle/>
            <a:p>
              <a:pPr algn="ctr" defTabSz="914367">
                <a:lnSpc>
                  <a:spcPct val="90000"/>
                </a:lnSpc>
                <a:spcBef>
                  <a:spcPts val="587"/>
                </a:spcBef>
                <a:defRPr/>
              </a:pPr>
              <a:r>
                <a:rPr lang="en-US" sz="1765">
                  <a:gradFill>
                    <a:gsLst>
                      <a:gs pos="1250">
                        <a:srgbClr val="353535"/>
                      </a:gs>
                      <a:gs pos="100000">
                        <a:srgbClr val="353535"/>
                      </a:gs>
                    </a:gsLst>
                    <a:lin ang="5400000" scaled="0"/>
                  </a:gradFill>
                  <a:latin typeface="Segoe UI Semilight"/>
                  <a:cs typeface="Segoe UI" panose="020B0502040204020203" pitchFamily="34" charset="0"/>
                </a:rPr>
                <a:t>16</a:t>
              </a:r>
            </a:p>
          </p:txBody>
        </p:sp>
        <p:sp>
          <p:nvSpPr>
            <p:cNvPr id="65" name="Rectangle 64"/>
            <p:cNvSpPr/>
            <p:nvPr/>
          </p:nvSpPr>
          <p:spPr bwMode="auto">
            <a:xfrm>
              <a:off x="3901441" y="4127901"/>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66" name="Rectangle 65"/>
            <p:cNvSpPr/>
            <p:nvPr/>
          </p:nvSpPr>
          <p:spPr>
            <a:xfrm>
              <a:off x="3901441" y="4192938"/>
              <a:ext cx="2468880" cy="341632"/>
            </a:xfrm>
            <a:prstGeom prst="rect">
              <a:avLst/>
            </a:prstGeom>
          </p:spPr>
          <p:txBody>
            <a:bodyPr wrap="square" anchor="ctr" anchorCtr="0">
              <a:spAutoFit/>
            </a:bodyPr>
            <a:lstStyle/>
            <a:p>
              <a:pPr algn="ctr" defTabSz="914367">
                <a:lnSpc>
                  <a:spcPct val="90000"/>
                </a:lnSpc>
                <a:spcBef>
                  <a:spcPts val="587"/>
                </a:spcBef>
                <a:defRPr/>
              </a:pPr>
              <a:r>
                <a:rPr lang="en-US" sz="1765">
                  <a:gradFill>
                    <a:gsLst>
                      <a:gs pos="1250">
                        <a:srgbClr val="353535"/>
                      </a:gs>
                      <a:gs pos="100000">
                        <a:srgbClr val="353535"/>
                      </a:gs>
                    </a:gsLst>
                    <a:lin ang="5400000" scaled="0"/>
                  </a:gradFill>
                  <a:latin typeface="Segoe UI Semilight"/>
                  <a:cs typeface="Segoe UI" panose="020B0502040204020203" pitchFamily="34" charset="0"/>
                </a:rPr>
                <a:t>32</a:t>
              </a:r>
            </a:p>
          </p:txBody>
        </p:sp>
        <p:sp>
          <p:nvSpPr>
            <p:cNvPr id="73" name="Rectangle 72"/>
            <p:cNvSpPr/>
            <p:nvPr/>
          </p:nvSpPr>
          <p:spPr bwMode="auto">
            <a:xfrm>
              <a:off x="3901441" y="3184483"/>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25" name="Rectangle 24"/>
            <p:cNvSpPr/>
            <p:nvPr/>
          </p:nvSpPr>
          <p:spPr>
            <a:xfrm>
              <a:off x="274639" y="1336114"/>
              <a:ext cx="3108960" cy="424732"/>
            </a:xfrm>
            <a:prstGeom prst="rect">
              <a:avLst/>
            </a:prstGeom>
          </p:spPr>
          <p:txBody>
            <a:bodyPr wrap="square" anchor="ctr" anchorCtr="0">
              <a:spAutoFit/>
            </a:bodyPr>
            <a:lstStyle/>
            <a:p>
              <a:pPr marL="0" lvl="1" algn="ctr" defTabSz="914178">
                <a:lnSpc>
                  <a:spcPct val="90000"/>
                </a:lnSpc>
                <a:defRPr/>
              </a:pPr>
              <a:r>
                <a:rPr lang="en-US" sz="2353">
                  <a:gradFill>
                    <a:gsLst>
                      <a:gs pos="1250">
                        <a:srgbClr val="353535"/>
                      </a:gs>
                      <a:gs pos="100000">
                        <a:srgbClr val="353535"/>
                      </a:gs>
                    </a:gsLst>
                    <a:lin ang="5400000" scaled="0"/>
                  </a:gradFill>
                  <a:latin typeface="Segoe UI Light"/>
                  <a:cs typeface="Segoe UI" panose="020B0502040204020203" pitchFamily="34" charset="0"/>
                </a:rPr>
                <a:t>Node</a:t>
              </a:r>
            </a:p>
          </p:txBody>
        </p:sp>
        <p:sp>
          <p:nvSpPr>
            <p:cNvPr id="26" name="Rectangle 25"/>
            <p:cNvSpPr/>
            <p:nvPr/>
          </p:nvSpPr>
          <p:spPr bwMode="auto">
            <a:xfrm>
              <a:off x="457201" y="1769356"/>
              <a:ext cx="3108960" cy="0"/>
            </a:xfrm>
            <a:prstGeom prst="rect">
              <a:avLst/>
            </a:prstGeom>
            <a:noFill/>
            <a:ln w="539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1" rIns="0" bIns="45721" numCol="1" rtlCol="0" anchor="ctr" anchorCtr="0" compatLnSpc="1">
              <a:prstTxWarp prst="textNoShape">
                <a:avLst/>
              </a:prstTxWarp>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27" name="Rectangle 26"/>
            <p:cNvSpPr/>
            <p:nvPr/>
          </p:nvSpPr>
          <p:spPr>
            <a:xfrm>
              <a:off x="457201" y="1834396"/>
              <a:ext cx="3292184" cy="341632"/>
            </a:xfrm>
            <a:prstGeom prst="rect">
              <a:avLst/>
            </a:prstGeom>
          </p:spPr>
          <p:txBody>
            <a:bodyPr wrap="square" anchor="ctr" anchorCtr="0">
              <a:spAutoFit/>
            </a:bodyPr>
            <a:lstStyle/>
            <a:p>
              <a:pPr defTabSz="914367">
                <a:lnSpc>
                  <a:spcPct val="90000"/>
                </a:lnSpc>
                <a:spcBef>
                  <a:spcPts val="587"/>
                </a:spcBef>
                <a:defRPr/>
              </a:pPr>
              <a:r>
                <a:rPr lang="en-US" sz="1765">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ower BI Premium EM1</a:t>
              </a:r>
              <a:r>
                <a:rPr lang="en-US" sz="1765" baseline="3000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3</a:t>
              </a:r>
              <a:endParaRPr lang="en-US" sz="1765">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38" name="Rectangle 37"/>
            <p:cNvSpPr/>
            <p:nvPr/>
          </p:nvSpPr>
          <p:spPr bwMode="auto">
            <a:xfrm>
              <a:off x="457201" y="2241065"/>
              <a:ext cx="310896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39" name="Rectangle 38"/>
            <p:cNvSpPr/>
            <p:nvPr/>
          </p:nvSpPr>
          <p:spPr>
            <a:xfrm>
              <a:off x="457201" y="2306106"/>
              <a:ext cx="3292184" cy="341632"/>
            </a:xfrm>
            <a:prstGeom prst="rect">
              <a:avLst/>
            </a:prstGeom>
          </p:spPr>
          <p:txBody>
            <a:bodyPr wrap="square" anchor="ctr" anchorCtr="0">
              <a:spAutoFit/>
            </a:bodyPr>
            <a:lstStyle/>
            <a:p>
              <a:pPr defTabSz="914367">
                <a:lnSpc>
                  <a:spcPct val="90000"/>
                </a:lnSpc>
                <a:spcBef>
                  <a:spcPts val="587"/>
                </a:spcBef>
                <a:defRPr/>
              </a:pPr>
              <a:r>
                <a:rPr lang="en-US" sz="1765">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ower BI Premium EM2</a:t>
              </a:r>
              <a:r>
                <a:rPr lang="en-US" sz="1765" baseline="3000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3</a:t>
              </a:r>
              <a:endParaRPr lang="en-US" sz="1765">
                <a:gradFill>
                  <a:gsLst>
                    <a:gs pos="1250">
                      <a:srgbClr val="353535"/>
                    </a:gs>
                    <a:gs pos="100000">
                      <a:srgbClr val="353535"/>
                    </a:gs>
                  </a:gsLst>
                  <a:lin ang="5400000" scaled="0"/>
                </a:gradFill>
                <a:latin typeface="Segoe UI" panose="020B0502040204020203" pitchFamily="34" charset="0"/>
                <a:cs typeface="Segoe UI" panose="020B0502040204020203" pitchFamily="34" charset="0"/>
              </a:endParaRPr>
            </a:p>
          </p:txBody>
        </p:sp>
        <p:sp>
          <p:nvSpPr>
            <p:cNvPr id="45" name="Rectangle 44"/>
            <p:cNvSpPr/>
            <p:nvPr/>
          </p:nvSpPr>
          <p:spPr bwMode="auto">
            <a:xfrm>
              <a:off x="457201" y="2712774"/>
              <a:ext cx="310896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46" name="Rectangle 45"/>
            <p:cNvSpPr/>
            <p:nvPr/>
          </p:nvSpPr>
          <p:spPr>
            <a:xfrm>
              <a:off x="457201" y="2763965"/>
              <a:ext cx="3292184" cy="369332"/>
            </a:xfrm>
            <a:prstGeom prst="rect">
              <a:avLst/>
            </a:prstGeom>
          </p:spPr>
          <p:txBody>
            <a:bodyPr wrap="square" anchor="ctr" anchorCtr="0">
              <a:spAutoFit/>
            </a:bodyPr>
            <a:lstStyle/>
            <a:p>
              <a:pPr defTabSz="914367">
                <a:lnSpc>
                  <a:spcPct val="90000"/>
                </a:lnSpc>
                <a:spcBef>
                  <a:spcPts val="587"/>
                </a:spcBef>
                <a:defRPr/>
              </a:pPr>
              <a:r>
                <a:rPr lang="en-US" sz="1765">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ower BI Premium</a:t>
              </a:r>
              <a:r>
                <a:rPr lang="en-US" sz="1961">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a:t>
              </a:r>
              <a:r>
                <a:rPr lang="en-US" sz="1765">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EM3</a:t>
              </a:r>
              <a:r>
                <a:rPr lang="en-US" sz="1765" baseline="3000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3</a:t>
              </a:r>
            </a:p>
          </p:txBody>
        </p:sp>
        <p:sp>
          <p:nvSpPr>
            <p:cNvPr id="67" name="Rectangle 66"/>
            <p:cNvSpPr/>
            <p:nvPr/>
          </p:nvSpPr>
          <p:spPr>
            <a:xfrm>
              <a:off x="457201" y="3249523"/>
              <a:ext cx="3108960" cy="341632"/>
            </a:xfrm>
            <a:prstGeom prst="rect">
              <a:avLst/>
            </a:prstGeom>
          </p:spPr>
          <p:txBody>
            <a:bodyPr wrap="square" anchor="ctr" anchorCtr="0">
              <a:spAutoFit/>
            </a:bodyPr>
            <a:lstStyle/>
            <a:p>
              <a:pPr defTabSz="914367">
                <a:lnSpc>
                  <a:spcPct val="90000"/>
                </a:lnSpc>
                <a:spcBef>
                  <a:spcPts val="587"/>
                </a:spcBef>
                <a:defRPr/>
              </a:pPr>
              <a:r>
                <a:rPr lang="en-US" sz="1765">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ower BI Premium P1</a:t>
              </a:r>
            </a:p>
          </p:txBody>
        </p:sp>
        <p:sp>
          <p:nvSpPr>
            <p:cNvPr id="68" name="Rectangle 67"/>
            <p:cNvSpPr/>
            <p:nvPr/>
          </p:nvSpPr>
          <p:spPr bwMode="auto">
            <a:xfrm>
              <a:off x="457201" y="3656192"/>
              <a:ext cx="310896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69" name="Rectangle 68"/>
            <p:cNvSpPr/>
            <p:nvPr/>
          </p:nvSpPr>
          <p:spPr>
            <a:xfrm>
              <a:off x="457201" y="3721232"/>
              <a:ext cx="3108960" cy="341632"/>
            </a:xfrm>
            <a:prstGeom prst="rect">
              <a:avLst/>
            </a:prstGeom>
          </p:spPr>
          <p:txBody>
            <a:bodyPr wrap="square" anchor="ctr" anchorCtr="0">
              <a:spAutoFit/>
            </a:bodyPr>
            <a:lstStyle/>
            <a:p>
              <a:pPr defTabSz="914367">
                <a:lnSpc>
                  <a:spcPct val="90000"/>
                </a:lnSpc>
                <a:spcBef>
                  <a:spcPts val="587"/>
                </a:spcBef>
                <a:defRPr/>
              </a:pPr>
              <a:r>
                <a:rPr lang="en-US" sz="1765">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ower BI Premium P2</a:t>
              </a:r>
            </a:p>
          </p:txBody>
        </p:sp>
        <p:sp>
          <p:nvSpPr>
            <p:cNvPr id="70" name="Rectangle 69"/>
            <p:cNvSpPr/>
            <p:nvPr/>
          </p:nvSpPr>
          <p:spPr bwMode="auto">
            <a:xfrm>
              <a:off x="457201" y="4127901"/>
              <a:ext cx="310896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71" name="Rectangle 70"/>
            <p:cNvSpPr/>
            <p:nvPr/>
          </p:nvSpPr>
          <p:spPr>
            <a:xfrm>
              <a:off x="457201" y="4192937"/>
              <a:ext cx="3108960" cy="341632"/>
            </a:xfrm>
            <a:prstGeom prst="rect">
              <a:avLst/>
            </a:prstGeom>
          </p:spPr>
          <p:txBody>
            <a:bodyPr wrap="square" anchor="ctr" anchorCtr="0">
              <a:spAutoFit/>
            </a:bodyPr>
            <a:lstStyle/>
            <a:p>
              <a:pPr defTabSz="914367">
                <a:lnSpc>
                  <a:spcPct val="90000"/>
                </a:lnSpc>
                <a:spcBef>
                  <a:spcPts val="587"/>
                </a:spcBef>
                <a:defRPr/>
              </a:pPr>
              <a:r>
                <a:rPr lang="en-US" sz="1765">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ower BI Premium P3</a:t>
              </a:r>
            </a:p>
          </p:txBody>
        </p:sp>
        <p:sp>
          <p:nvSpPr>
            <p:cNvPr id="74" name="Rectangle 73"/>
            <p:cNvSpPr/>
            <p:nvPr/>
          </p:nvSpPr>
          <p:spPr bwMode="auto">
            <a:xfrm>
              <a:off x="457201" y="3184483"/>
              <a:ext cx="310896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75" name="Rectangle 74"/>
            <p:cNvSpPr/>
            <p:nvPr/>
          </p:nvSpPr>
          <p:spPr>
            <a:xfrm>
              <a:off x="9478257" y="1280715"/>
              <a:ext cx="2654442" cy="480131"/>
            </a:xfrm>
            <a:prstGeom prst="rect">
              <a:avLst/>
            </a:prstGeom>
          </p:spPr>
          <p:txBody>
            <a:bodyPr wrap="square" anchor="ctr" anchorCtr="0">
              <a:spAutoFit/>
            </a:bodyPr>
            <a:lstStyle/>
            <a:p>
              <a:pPr marL="0" lvl="1" algn="ctr" defTabSz="914178">
                <a:lnSpc>
                  <a:spcPct val="90000"/>
                </a:lnSpc>
                <a:defRPr/>
              </a:pPr>
              <a:r>
                <a:rPr lang="en-US" sz="2353">
                  <a:gradFill>
                    <a:gsLst>
                      <a:gs pos="1250">
                        <a:srgbClr val="353535"/>
                      </a:gs>
                      <a:gs pos="100000">
                        <a:srgbClr val="353535"/>
                      </a:gs>
                    </a:gsLst>
                    <a:lin ang="5400000" scaled="0"/>
                  </a:gradFill>
                  <a:latin typeface="Segoe UI Light"/>
                  <a:cs typeface="Segoe UI" panose="020B0502040204020203" pitchFamily="34" charset="0"/>
                </a:rPr>
                <a:t>Price</a:t>
              </a:r>
              <a:r>
                <a:rPr lang="en-US" sz="2745">
                  <a:gradFill>
                    <a:gsLst>
                      <a:gs pos="1250">
                        <a:srgbClr val="353535"/>
                      </a:gs>
                      <a:gs pos="100000">
                        <a:srgbClr val="353535"/>
                      </a:gs>
                    </a:gsLst>
                    <a:lin ang="5400000" scaled="0"/>
                  </a:gradFill>
                  <a:latin typeface="Segoe UI Light"/>
                  <a:cs typeface="Segoe UI" panose="020B0502040204020203" pitchFamily="34" charset="0"/>
                </a:rPr>
                <a:t> </a:t>
              </a:r>
              <a:r>
                <a:rPr lang="en-US" sz="2353">
                  <a:gradFill>
                    <a:gsLst>
                      <a:gs pos="1250">
                        <a:srgbClr val="353535"/>
                      </a:gs>
                      <a:gs pos="100000">
                        <a:srgbClr val="353535"/>
                      </a:gs>
                    </a:gsLst>
                    <a:lin ang="5400000" scaled="0"/>
                  </a:gradFill>
                  <a:latin typeface="Segoe UI Light"/>
                  <a:cs typeface="Segoe UI" panose="020B0502040204020203" pitchFamily="34" charset="0"/>
                </a:rPr>
                <a:t>per</a:t>
              </a:r>
              <a:r>
                <a:rPr lang="en-US" sz="2745">
                  <a:gradFill>
                    <a:gsLst>
                      <a:gs pos="1250">
                        <a:srgbClr val="353535"/>
                      </a:gs>
                      <a:gs pos="100000">
                        <a:srgbClr val="353535"/>
                      </a:gs>
                    </a:gsLst>
                    <a:lin ang="5400000" scaled="0"/>
                  </a:gradFill>
                  <a:latin typeface="Segoe UI Light"/>
                  <a:cs typeface="Segoe UI" panose="020B0502040204020203" pitchFamily="34" charset="0"/>
                </a:rPr>
                <a:t> </a:t>
              </a:r>
              <a:r>
                <a:rPr lang="en-US" sz="2353">
                  <a:gradFill>
                    <a:gsLst>
                      <a:gs pos="1250">
                        <a:srgbClr val="353535"/>
                      </a:gs>
                      <a:gs pos="100000">
                        <a:srgbClr val="353535"/>
                      </a:gs>
                    </a:gsLst>
                    <a:lin ang="5400000" scaled="0"/>
                  </a:gradFill>
                  <a:latin typeface="Segoe UI Light"/>
                  <a:cs typeface="Segoe UI" panose="020B0502040204020203" pitchFamily="34" charset="0"/>
                </a:rPr>
                <a:t>month</a:t>
              </a:r>
              <a:r>
                <a:rPr lang="en-US" sz="1765" baseline="3000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2</a:t>
              </a:r>
              <a:endParaRPr lang="en-US" sz="1765" baseline="30000">
                <a:gradFill>
                  <a:gsLst>
                    <a:gs pos="1250">
                      <a:srgbClr val="353535"/>
                    </a:gs>
                    <a:gs pos="100000">
                      <a:srgbClr val="353535"/>
                    </a:gs>
                  </a:gsLst>
                  <a:lin ang="5400000" scaled="0"/>
                </a:gradFill>
                <a:latin typeface="Segoe UI Light"/>
                <a:cs typeface="Segoe UI" panose="020B0502040204020203" pitchFamily="34" charset="0"/>
              </a:endParaRPr>
            </a:p>
          </p:txBody>
        </p:sp>
        <p:sp>
          <p:nvSpPr>
            <p:cNvPr id="76" name="Rectangle 75"/>
            <p:cNvSpPr/>
            <p:nvPr/>
          </p:nvSpPr>
          <p:spPr>
            <a:xfrm>
              <a:off x="9509761" y="1834396"/>
              <a:ext cx="2468880" cy="341632"/>
            </a:xfrm>
            <a:prstGeom prst="rect">
              <a:avLst/>
            </a:prstGeom>
          </p:spPr>
          <p:txBody>
            <a:bodyPr wrap="square" anchor="ctr" anchorCtr="0">
              <a:spAutoFit/>
            </a:bodyPr>
            <a:lstStyle/>
            <a:p>
              <a:pPr algn="ctr" defTabSz="914367">
                <a:lnSpc>
                  <a:spcPct val="90000"/>
                </a:lnSpc>
                <a:spcBef>
                  <a:spcPts val="587"/>
                </a:spcBef>
                <a:defRPr/>
              </a:pPr>
              <a:r>
                <a:rPr lang="en-US" sz="1765">
                  <a:gradFill>
                    <a:gsLst>
                      <a:gs pos="1250">
                        <a:srgbClr val="353535"/>
                      </a:gs>
                      <a:gs pos="100000">
                        <a:srgbClr val="353535"/>
                      </a:gs>
                    </a:gsLst>
                    <a:lin ang="5400000" scaled="0"/>
                  </a:gradFill>
                  <a:latin typeface="Segoe UI Semilight"/>
                  <a:cs typeface="Segoe UI" panose="020B0502040204020203" pitchFamily="34" charset="0"/>
                </a:rPr>
                <a:t>$625</a:t>
              </a:r>
            </a:p>
          </p:txBody>
        </p:sp>
        <p:sp>
          <p:nvSpPr>
            <p:cNvPr id="77" name="Rectangle 76"/>
            <p:cNvSpPr/>
            <p:nvPr/>
          </p:nvSpPr>
          <p:spPr bwMode="auto">
            <a:xfrm>
              <a:off x="9509761" y="1769356"/>
              <a:ext cx="2468880" cy="0"/>
            </a:xfrm>
            <a:prstGeom prst="rect">
              <a:avLst/>
            </a:prstGeom>
            <a:noFill/>
            <a:ln w="539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1" rIns="0" bIns="45721" numCol="1" rtlCol="0" anchor="ctr" anchorCtr="0" compatLnSpc="1">
              <a:prstTxWarp prst="textNoShape">
                <a:avLst/>
              </a:prstTxWarp>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78" name="Rectangle 77"/>
            <p:cNvSpPr/>
            <p:nvPr/>
          </p:nvSpPr>
          <p:spPr>
            <a:xfrm>
              <a:off x="9509761" y="2306105"/>
              <a:ext cx="2468880" cy="341632"/>
            </a:xfrm>
            <a:prstGeom prst="rect">
              <a:avLst/>
            </a:prstGeom>
          </p:spPr>
          <p:txBody>
            <a:bodyPr wrap="square" anchor="ctr" anchorCtr="0">
              <a:spAutoFit/>
            </a:bodyPr>
            <a:lstStyle/>
            <a:p>
              <a:pPr algn="ctr" defTabSz="914367">
                <a:lnSpc>
                  <a:spcPct val="90000"/>
                </a:lnSpc>
                <a:spcBef>
                  <a:spcPts val="587"/>
                </a:spcBef>
                <a:defRPr/>
              </a:pPr>
              <a:r>
                <a:rPr lang="en-US" sz="1765">
                  <a:gradFill>
                    <a:gsLst>
                      <a:gs pos="1250">
                        <a:srgbClr val="353535"/>
                      </a:gs>
                      <a:gs pos="100000">
                        <a:srgbClr val="353535"/>
                      </a:gs>
                    </a:gsLst>
                    <a:lin ang="5400000" scaled="0"/>
                  </a:gradFill>
                  <a:latin typeface="Segoe UI Semilight"/>
                  <a:cs typeface="Segoe UI" panose="020B0502040204020203" pitchFamily="34" charset="0"/>
                </a:rPr>
                <a:t>$1,245</a:t>
              </a:r>
            </a:p>
          </p:txBody>
        </p:sp>
        <p:sp>
          <p:nvSpPr>
            <p:cNvPr id="79" name="Rectangle 78"/>
            <p:cNvSpPr/>
            <p:nvPr/>
          </p:nvSpPr>
          <p:spPr bwMode="auto">
            <a:xfrm>
              <a:off x="9509761" y="2241065"/>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80" name="Rectangle 79"/>
            <p:cNvSpPr/>
            <p:nvPr/>
          </p:nvSpPr>
          <p:spPr>
            <a:xfrm>
              <a:off x="9509761" y="2777814"/>
              <a:ext cx="2468880" cy="341632"/>
            </a:xfrm>
            <a:prstGeom prst="rect">
              <a:avLst/>
            </a:prstGeom>
          </p:spPr>
          <p:txBody>
            <a:bodyPr wrap="square" anchor="ctr" anchorCtr="0">
              <a:spAutoFit/>
            </a:bodyPr>
            <a:lstStyle/>
            <a:p>
              <a:pPr algn="ctr" defTabSz="914367">
                <a:lnSpc>
                  <a:spcPct val="90000"/>
                </a:lnSpc>
                <a:spcBef>
                  <a:spcPts val="587"/>
                </a:spcBef>
                <a:defRPr/>
              </a:pPr>
              <a:r>
                <a:rPr lang="en-US" sz="1765">
                  <a:gradFill>
                    <a:gsLst>
                      <a:gs pos="1250">
                        <a:srgbClr val="353535"/>
                      </a:gs>
                      <a:gs pos="100000">
                        <a:srgbClr val="353535"/>
                      </a:gs>
                    </a:gsLst>
                    <a:lin ang="5400000" scaled="0"/>
                  </a:gradFill>
                  <a:latin typeface="Segoe UI Semilight"/>
                  <a:cs typeface="Segoe UI" panose="020B0502040204020203" pitchFamily="34" charset="0"/>
                </a:rPr>
                <a:t>$2,495</a:t>
              </a:r>
            </a:p>
          </p:txBody>
        </p:sp>
        <p:sp>
          <p:nvSpPr>
            <p:cNvPr id="81" name="Rectangle 80"/>
            <p:cNvSpPr/>
            <p:nvPr/>
          </p:nvSpPr>
          <p:spPr bwMode="auto">
            <a:xfrm>
              <a:off x="9509761" y="2712774"/>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82" name="Rectangle 81"/>
            <p:cNvSpPr/>
            <p:nvPr/>
          </p:nvSpPr>
          <p:spPr>
            <a:xfrm>
              <a:off x="9509761" y="3249523"/>
              <a:ext cx="2468880" cy="341632"/>
            </a:xfrm>
            <a:prstGeom prst="rect">
              <a:avLst/>
            </a:prstGeom>
          </p:spPr>
          <p:txBody>
            <a:bodyPr wrap="square" anchor="ctr" anchorCtr="0">
              <a:spAutoFit/>
            </a:bodyPr>
            <a:lstStyle/>
            <a:p>
              <a:pPr algn="ctr" defTabSz="914367">
                <a:lnSpc>
                  <a:spcPct val="90000"/>
                </a:lnSpc>
                <a:spcBef>
                  <a:spcPts val="587"/>
                </a:spcBef>
                <a:defRPr/>
              </a:pPr>
              <a:r>
                <a:rPr lang="en-US" sz="1765">
                  <a:gradFill>
                    <a:gsLst>
                      <a:gs pos="1250">
                        <a:srgbClr val="353535"/>
                      </a:gs>
                      <a:gs pos="100000">
                        <a:srgbClr val="353535"/>
                      </a:gs>
                    </a:gsLst>
                    <a:lin ang="5400000" scaled="0"/>
                  </a:gradFill>
                  <a:latin typeface="Segoe UI Semilight"/>
                  <a:cs typeface="Segoe UI" panose="020B0502040204020203" pitchFamily="34" charset="0"/>
                </a:rPr>
                <a:t>$4,995</a:t>
              </a:r>
            </a:p>
          </p:txBody>
        </p:sp>
        <p:sp>
          <p:nvSpPr>
            <p:cNvPr id="83" name="Rectangle 82"/>
            <p:cNvSpPr/>
            <p:nvPr/>
          </p:nvSpPr>
          <p:spPr>
            <a:xfrm>
              <a:off x="9509761" y="3721232"/>
              <a:ext cx="2468880" cy="341632"/>
            </a:xfrm>
            <a:prstGeom prst="rect">
              <a:avLst/>
            </a:prstGeom>
          </p:spPr>
          <p:txBody>
            <a:bodyPr wrap="square" anchor="ctr" anchorCtr="0">
              <a:spAutoFit/>
            </a:bodyPr>
            <a:lstStyle/>
            <a:p>
              <a:pPr algn="ctr" defTabSz="914367">
                <a:lnSpc>
                  <a:spcPct val="90000"/>
                </a:lnSpc>
                <a:spcBef>
                  <a:spcPts val="587"/>
                </a:spcBef>
                <a:defRPr/>
              </a:pPr>
              <a:r>
                <a:rPr lang="en-US" sz="1765">
                  <a:gradFill>
                    <a:gsLst>
                      <a:gs pos="1250">
                        <a:srgbClr val="353535"/>
                      </a:gs>
                      <a:gs pos="100000">
                        <a:srgbClr val="353535"/>
                      </a:gs>
                    </a:gsLst>
                    <a:lin ang="5400000" scaled="0"/>
                  </a:gradFill>
                  <a:latin typeface="Segoe UI Semilight"/>
                  <a:cs typeface="Segoe UI" panose="020B0502040204020203" pitchFamily="34" charset="0"/>
                </a:rPr>
                <a:t>$9,995</a:t>
              </a:r>
            </a:p>
          </p:txBody>
        </p:sp>
        <p:sp>
          <p:nvSpPr>
            <p:cNvPr id="84" name="Rectangle 83"/>
            <p:cNvSpPr/>
            <p:nvPr/>
          </p:nvSpPr>
          <p:spPr bwMode="auto">
            <a:xfrm>
              <a:off x="9509761" y="3656192"/>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85" name="Rectangle 84"/>
            <p:cNvSpPr/>
            <p:nvPr/>
          </p:nvSpPr>
          <p:spPr>
            <a:xfrm>
              <a:off x="9509761" y="4192938"/>
              <a:ext cx="2468880" cy="341632"/>
            </a:xfrm>
            <a:prstGeom prst="rect">
              <a:avLst/>
            </a:prstGeom>
          </p:spPr>
          <p:txBody>
            <a:bodyPr wrap="square" anchor="ctr" anchorCtr="0">
              <a:spAutoFit/>
            </a:bodyPr>
            <a:lstStyle/>
            <a:p>
              <a:pPr algn="ctr" defTabSz="914367">
                <a:lnSpc>
                  <a:spcPct val="90000"/>
                </a:lnSpc>
                <a:spcBef>
                  <a:spcPts val="587"/>
                </a:spcBef>
                <a:defRPr/>
              </a:pPr>
              <a:r>
                <a:rPr lang="en-US" sz="1765">
                  <a:gradFill>
                    <a:gsLst>
                      <a:gs pos="1250">
                        <a:srgbClr val="353535"/>
                      </a:gs>
                      <a:gs pos="100000">
                        <a:srgbClr val="353535"/>
                      </a:gs>
                    </a:gsLst>
                    <a:lin ang="5400000" scaled="0"/>
                  </a:gradFill>
                  <a:latin typeface="Segoe UI Semilight"/>
                  <a:cs typeface="Segoe UI" panose="020B0502040204020203" pitchFamily="34" charset="0"/>
                </a:rPr>
                <a:t>$19,995</a:t>
              </a:r>
            </a:p>
          </p:txBody>
        </p:sp>
        <p:sp>
          <p:nvSpPr>
            <p:cNvPr id="86" name="Rectangle 85"/>
            <p:cNvSpPr/>
            <p:nvPr/>
          </p:nvSpPr>
          <p:spPr bwMode="auto">
            <a:xfrm>
              <a:off x="9509761" y="4127901"/>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88" name="Rectangle 87"/>
            <p:cNvSpPr/>
            <p:nvPr/>
          </p:nvSpPr>
          <p:spPr bwMode="auto">
            <a:xfrm>
              <a:off x="9509761" y="3184483"/>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87" name="Rectangle 86">
              <a:extLst>
                <a:ext uri="{FF2B5EF4-FFF2-40B4-BE49-F238E27FC236}">
                  <a16:creationId xmlns:a16="http://schemas.microsoft.com/office/drawing/2014/main" id="{AB18213A-6FBD-4377-AF01-F073D138BF4C}"/>
                </a:ext>
              </a:extLst>
            </p:cNvPr>
            <p:cNvSpPr/>
            <p:nvPr/>
          </p:nvSpPr>
          <p:spPr>
            <a:xfrm>
              <a:off x="6705601" y="4592994"/>
              <a:ext cx="2468880" cy="341632"/>
            </a:xfrm>
            <a:prstGeom prst="rect">
              <a:avLst/>
            </a:prstGeom>
          </p:spPr>
          <p:txBody>
            <a:bodyPr wrap="square" anchor="ctr" anchorCtr="0">
              <a:spAutoFit/>
            </a:bodyPr>
            <a:lstStyle/>
            <a:p>
              <a:pPr algn="ctr" defTabSz="914367">
                <a:lnSpc>
                  <a:spcPct val="90000"/>
                </a:lnSpc>
                <a:spcBef>
                  <a:spcPts val="587"/>
                </a:spcBef>
                <a:defRPr/>
              </a:pPr>
              <a:r>
                <a:rPr lang="en-US" sz="1765">
                  <a:gradFill>
                    <a:gsLst>
                      <a:gs pos="1250">
                        <a:srgbClr val="353535"/>
                      </a:gs>
                      <a:gs pos="100000">
                        <a:srgbClr val="353535"/>
                      </a:gs>
                    </a:gsLst>
                    <a:lin ang="5400000" scaled="0"/>
                  </a:gradFill>
                  <a:latin typeface="Segoe UI Semilight"/>
                  <a:cs typeface="Segoe UI" panose="020B0502040204020203" pitchFamily="34" charset="0"/>
                </a:rPr>
                <a:t>SaaS or PaaS</a:t>
              </a:r>
            </a:p>
          </p:txBody>
        </p:sp>
        <p:sp>
          <p:nvSpPr>
            <p:cNvPr id="89" name="Rectangle 88">
              <a:extLst>
                <a:ext uri="{FF2B5EF4-FFF2-40B4-BE49-F238E27FC236}">
                  <a16:creationId xmlns:a16="http://schemas.microsoft.com/office/drawing/2014/main" id="{4D7155F6-D686-4F21-89B5-2005451E9AC3}"/>
                </a:ext>
              </a:extLst>
            </p:cNvPr>
            <p:cNvSpPr/>
            <p:nvPr/>
          </p:nvSpPr>
          <p:spPr bwMode="auto">
            <a:xfrm>
              <a:off x="6705601" y="4527958"/>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90" name="Rectangle 89">
              <a:extLst>
                <a:ext uri="{FF2B5EF4-FFF2-40B4-BE49-F238E27FC236}">
                  <a16:creationId xmlns:a16="http://schemas.microsoft.com/office/drawing/2014/main" id="{5B026E20-FC5B-479F-8E48-09EABB5D87C3}"/>
                </a:ext>
              </a:extLst>
            </p:cNvPr>
            <p:cNvSpPr/>
            <p:nvPr/>
          </p:nvSpPr>
          <p:spPr bwMode="auto">
            <a:xfrm>
              <a:off x="3901441" y="4527958"/>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91" name="Rectangle 90">
              <a:extLst>
                <a:ext uri="{FF2B5EF4-FFF2-40B4-BE49-F238E27FC236}">
                  <a16:creationId xmlns:a16="http://schemas.microsoft.com/office/drawing/2014/main" id="{C79B89CB-23DB-4569-8D97-B5B1B01225A2}"/>
                </a:ext>
              </a:extLst>
            </p:cNvPr>
            <p:cNvSpPr/>
            <p:nvPr/>
          </p:nvSpPr>
          <p:spPr>
            <a:xfrm>
              <a:off x="3901441" y="4592995"/>
              <a:ext cx="2468880" cy="341632"/>
            </a:xfrm>
            <a:prstGeom prst="rect">
              <a:avLst/>
            </a:prstGeom>
          </p:spPr>
          <p:txBody>
            <a:bodyPr wrap="square" anchor="ctr" anchorCtr="0">
              <a:spAutoFit/>
            </a:bodyPr>
            <a:lstStyle/>
            <a:p>
              <a:pPr algn="ctr" defTabSz="914367">
                <a:lnSpc>
                  <a:spcPct val="90000"/>
                </a:lnSpc>
                <a:spcBef>
                  <a:spcPts val="587"/>
                </a:spcBef>
                <a:defRPr/>
              </a:pPr>
              <a:r>
                <a:rPr lang="en-US" sz="1765">
                  <a:gradFill>
                    <a:gsLst>
                      <a:gs pos="1250">
                        <a:srgbClr val="353535"/>
                      </a:gs>
                      <a:gs pos="100000">
                        <a:srgbClr val="353535"/>
                      </a:gs>
                    </a:gsLst>
                    <a:lin ang="5400000" scaled="0"/>
                  </a:gradFill>
                  <a:latin typeface="Segoe UI Semilight"/>
                  <a:cs typeface="Segoe UI" panose="020B0502040204020203" pitchFamily="34" charset="0"/>
                </a:rPr>
                <a:t>64</a:t>
              </a:r>
            </a:p>
          </p:txBody>
        </p:sp>
        <p:sp>
          <p:nvSpPr>
            <p:cNvPr id="92" name="Rectangle 91">
              <a:extLst>
                <a:ext uri="{FF2B5EF4-FFF2-40B4-BE49-F238E27FC236}">
                  <a16:creationId xmlns:a16="http://schemas.microsoft.com/office/drawing/2014/main" id="{14D2640B-59AE-4C34-BEA7-881965835D3A}"/>
                </a:ext>
              </a:extLst>
            </p:cNvPr>
            <p:cNvSpPr/>
            <p:nvPr/>
          </p:nvSpPr>
          <p:spPr bwMode="auto">
            <a:xfrm>
              <a:off x="457201" y="4527958"/>
              <a:ext cx="310896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93" name="Rectangle 92">
              <a:extLst>
                <a:ext uri="{FF2B5EF4-FFF2-40B4-BE49-F238E27FC236}">
                  <a16:creationId xmlns:a16="http://schemas.microsoft.com/office/drawing/2014/main" id="{E205500D-CC7F-458B-9E28-201162A571B3}"/>
                </a:ext>
              </a:extLst>
            </p:cNvPr>
            <p:cNvSpPr/>
            <p:nvPr/>
          </p:nvSpPr>
          <p:spPr>
            <a:xfrm>
              <a:off x="457201" y="4592994"/>
              <a:ext cx="3108960" cy="341632"/>
            </a:xfrm>
            <a:prstGeom prst="rect">
              <a:avLst/>
            </a:prstGeom>
          </p:spPr>
          <p:txBody>
            <a:bodyPr wrap="square" anchor="ctr" anchorCtr="0">
              <a:spAutoFit/>
            </a:bodyPr>
            <a:lstStyle/>
            <a:p>
              <a:pPr defTabSz="914367">
                <a:lnSpc>
                  <a:spcPct val="90000"/>
                </a:lnSpc>
                <a:spcBef>
                  <a:spcPts val="587"/>
                </a:spcBef>
                <a:defRPr/>
              </a:pPr>
              <a:r>
                <a:rPr lang="en-US" sz="1765">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ower BI Premium P4</a:t>
              </a:r>
            </a:p>
          </p:txBody>
        </p:sp>
        <p:sp>
          <p:nvSpPr>
            <p:cNvPr id="94" name="Rectangle 93">
              <a:extLst>
                <a:ext uri="{FF2B5EF4-FFF2-40B4-BE49-F238E27FC236}">
                  <a16:creationId xmlns:a16="http://schemas.microsoft.com/office/drawing/2014/main" id="{3EF993B1-69DF-4C72-84D9-06E349594944}"/>
                </a:ext>
              </a:extLst>
            </p:cNvPr>
            <p:cNvSpPr/>
            <p:nvPr/>
          </p:nvSpPr>
          <p:spPr>
            <a:xfrm>
              <a:off x="9509761" y="4592995"/>
              <a:ext cx="2468880" cy="341632"/>
            </a:xfrm>
            <a:prstGeom prst="rect">
              <a:avLst/>
            </a:prstGeom>
          </p:spPr>
          <p:txBody>
            <a:bodyPr wrap="square" anchor="ctr" anchorCtr="0">
              <a:spAutoFit/>
            </a:bodyPr>
            <a:lstStyle/>
            <a:p>
              <a:pPr algn="ctr" defTabSz="914367">
                <a:lnSpc>
                  <a:spcPct val="90000"/>
                </a:lnSpc>
                <a:spcBef>
                  <a:spcPts val="587"/>
                </a:spcBef>
                <a:defRPr/>
              </a:pPr>
              <a:r>
                <a:rPr lang="en-US" sz="1765">
                  <a:gradFill>
                    <a:gsLst>
                      <a:gs pos="1250">
                        <a:srgbClr val="353535"/>
                      </a:gs>
                      <a:gs pos="100000">
                        <a:srgbClr val="353535"/>
                      </a:gs>
                    </a:gsLst>
                    <a:lin ang="5400000" scaled="0"/>
                  </a:gradFill>
                  <a:latin typeface="Segoe UI Semilight"/>
                  <a:cs typeface="Segoe UI" panose="020B0502040204020203" pitchFamily="34" charset="0"/>
                </a:rPr>
                <a:t>$39,995</a:t>
              </a:r>
              <a:endParaRPr lang="en-US" sz="1765" baseline="30000">
                <a:gradFill>
                  <a:gsLst>
                    <a:gs pos="1250">
                      <a:srgbClr val="353535"/>
                    </a:gs>
                    <a:gs pos="100000">
                      <a:srgbClr val="353535"/>
                    </a:gs>
                  </a:gsLst>
                  <a:lin ang="5400000" scaled="0"/>
                </a:gradFill>
                <a:latin typeface="Segoe UI Semilight"/>
                <a:cs typeface="Segoe UI" panose="020B0502040204020203" pitchFamily="34" charset="0"/>
              </a:endParaRPr>
            </a:p>
          </p:txBody>
        </p:sp>
        <p:sp>
          <p:nvSpPr>
            <p:cNvPr id="95" name="Rectangle 94">
              <a:extLst>
                <a:ext uri="{FF2B5EF4-FFF2-40B4-BE49-F238E27FC236}">
                  <a16:creationId xmlns:a16="http://schemas.microsoft.com/office/drawing/2014/main" id="{C0F3BC1D-8C9C-4C17-99AC-FEE0082F5B5D}"/>
                </a:ext>
              </a:extLst>
            </p:cNvPr>
            <p:cNvSpPr/>
            <p:nvPr/>
          </p:nvSpPr>
          <p:spPr bwMode="auto">
            <a:xfrm>
              <a:off x="9509761" y="4527958"/>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96" name="Rectangle 95">
              <a:extLst>
                <a:ext uri="{FF2B5EF4-FFF2-40B4-BE49-F238E27FC236}">
                  <a16:creationId xmlns:a16="http://schemas.microsoft.com/office/drawing/2014/main" id="{82751960-C7A2-4A45-BF1E-AD5BE68860C1}"/>
                </a:ext>
              </a:extLst>
            </p:cNvPr>
            <p:cNvSpPr/>
            <p:nvPr/>
          </p:nvSpPr>
          <p:spPr>
            <a:xfrm>
              <a:off x="6705601" y="5019023"/>
              <a:ext cx="2468880" cy="341632"/>
            </a:xfrm>
            <a:prstGeom prst="rect">
              <a:avLst/>
            </a:prstGeom>
          </p:spPr>
          <p:txBody>
            <a:bodyPr wrap="square" anchor="ctr" anchorCtr="0">
              <a:spAutoFit/>
            </a:bodyPr>
            <a:lstStyle/>
            <a:p>
              <a:pPr algn="ctr" defTabSz="914367">
                <a:lnSpc>
                  <a:spcPct val="90000"/>
                </a:lnSpc>
                <a:spcBef>
                  <a:spcPts val="587"/>
                </a:spcBef>
                <a:defRPr/>
              </a:pPr>
              <a:r>
                <a:rPr lang="en-US" sz="1765">
                  <a:gradFill>
                    <a:gsLst>
                      <a:gs pos="1250">
                        <a:srgbClr val="353535"/>
                      </a:gs>
                      <a:gs pos="100000">
                        <a:srgbClr val="353535"/>
                      </a:gs>
                    </a:gsLst>
                    <a:lin ang="5400000" scaled="0"/>
                  </a:gradFill>
                  <a:latin typeface="Segoe UI Semilight"/>
                  <a:cs typeface="Segoe UI" panose="020B0502040204020203" pitchFamily="34" charset="0"/>
                </a:rPr>
                <a:t>SaaS or PaaS</a:t>
              </a:r>
            </a:p>
          </p:txBody>
        </p:sp>
        <p:sp>
          <p:nvSpPr>
            <p:cNvPr id="97" name="Rectangle 96">
              <a:extLst>
                <a:ext uri="{FF2B5EF4-FFF2-40B4-BE49-F238E27FC236}">
                  <a16:creationId xmlns:a16="http://schemas.microsoft.com/office/drawing/2014/main" id="{B68FD26D-BC88-4153-8A25-3D7A09AEC2AB}"/>
                </a:ext>
              </a:extLst>
            </p:cNvPr>
            <p:cNvSpPr/>
            <p:nvPr/>
          </p:nvSpPr>
          <p:spPr bwMode="auto">
            <a:xfrm>
              <a:off x="6705601" y="4953987"/>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98" name="Rectangle 97">
              <a:extLst>
                <a:ext uri="{FF2B5EF4-FFF2-40B4-BE49-F238E27FC236}">
                  <a16:creationId xmlns:a16="http://schemas.microsoft.com/office/drawing/2014/main" id="{4A701F2A-9926-44AE-9E29-F9D80A508F10}"/>
                </a:ext>
              </a:extLst>
            </p:cNvPr>
            <p:cNvSpPr/>
            <p:nvPr/>
          </p:nvSpPr>
          <p:spPr bwMode="auto">
            <a:xfrm>
              <a:off x="3901441" y="4953987"/>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99" name="Rectangle 98">
              <a:extLst>
                <a:ext uri="{FF2B5EF4-FFF2-40B4-BE49-F238E27FC236}">
                  <a16:creationId xmlns:a16="http://schemas.microsoft.com/office/drawing/2014/main" id="{8D4675B9-213D-4783-A0D3-EDAE34CC2FBB}"/>
                </a:ext>
              </a:extLst>
            </p:cNvPr>
            <p:cNvSpPr/>
            <p:nvPr/>
          </p:nvSpPr>
          <p:spPr>
            <a:xfrm>
              <a:off x="3901441" y="5019024"/>
              <a:ext cx="2468880" cy="341632"/>
            </a:xfrm>
            <a:prstGeom prst="rect">
              <a:avLst/>
            </a:prstGeom>
          </p:spPr>
          <p:txBody>
            <a:bodyPr wrap="square" anchor="ctr" anchorCtr="0">
              <a:spAutoFit/>
            </a:bodyPr>
            <a:lstStyle/>
            <a:p>
              <a:pPr algn="ctr" defTabSz="914367">
                <a:lnSpc>
                  <a:spcPct val="90000"/>
                </a:lnSpc>
                <a:spcBef>
                  <a:spcPts val="587"/>
                </a:spcBef>
                <a:defRPr/>
              </a:pPr>
              <a:r>
                <a:rPr lang="en-US" sz="1765">
                  <a:gradFill>
                    <a:gsLst>
                      <a:gs pos="1250">
                        <a:srgbClr val="353535"/>
                      </a:gs>
                      <a:gs pos="100000">
                        <a:srgbClr val="353535"/>
                      </a:gs>
                    </a:gsLst>
                    <a:lin ang="5400000" scaled="0"/>
                  </a:gradFill>
                  <a:latin typeface="Segoe UI Semilight"/>
                  <a:cs typeface="Segoe UI" panose="020B0502040204020203" pitchFamily="34" charset="0"/>
                </a:rPr>
                <a:t>128</a:t>
              </a:r>
            </a:p>
          </p:txBody>
        </p:sp>
        <p:sp>
          <p:nvSpPr>
            <p:cNvPr id="100" name="Rectangle 99">
              <a:extLst>
                <a:ext uri="{FF2B5EF4-FFF2-40B4-BE49-F238E27FC236}">
                  <a16:creationId xmlns:a16="http://schemas.microsoft.com/office/drawing/2014/main" id="{1FFF89F7-53E7-4FB7-81BA-413244A17C43}"/>
                </a:ext>
              </a:extLst>
            </p:cNvPr>
            <p:cNvSpPr/>
            <p:nvPr/>
          </p:nvSpPr>
          <p:spPr bwMode="auto">
            <a:xfrm>
              <a:off x="457201" y="4953987"/>
              <a:ext cx="310896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sp>
          <p:nvSpPr>
            <p:cNvPr id="101" name="Rectangle 100">
              <a:extLst>
                <a:ext uri="{FF2B5EF4-FFF2-40B4-BE49-F238E27FC236}">
                  <a16:creationId xmlns:a16="http://schemas.microsoft.com/office/drawing/2014/main" id="{0D91E299-A8AB-4BD3-B2A4-D591589E92CF}"/>
                </a:ext>
              </a:extLst>
            </p:cNvPr>
            <p:cNvSpPr/>
            <p:nvPr/>
          </p:nvSpPr>
          <p:spPr>
            <a:xfrm>
              <a:off x="457201" y="5019023"/>
              <a:ext cx="3108960" cy="341632"/>
            </a:xfrm>
            <a:prstGeom prst="rect">
              <a:avLst/>
            </a:prstGeom>
          </p:spPr>
          <p:txBody>
            <a:bodyPr wrap="square" anchor="ctr" anchorCtr="0">
              <a:spAutoFit/>
            </a:bodyPr>
            <a:lstStyle/>
            <a:p>
              <a:pPr defTabSz="914367">
                <a:lnSpc>
                  <a:spcPct val="90000"/>
                </a:lnSpc>
                <a:spcBef>
                  <a:spcPts val="587"/>
                </a:spcBef>
                <a:defRPr/>
              </a:pPr>
              <a:r>
                <a:rPr lang="en-US" sz="1765">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ower BI Premium P5</a:t>
              </a:r>
            </a:p>
          </p:txBody>
        </p:sp>
        <p:sp>
          <p:nvSpPr>
            <p:cNvPr id="102" name="Rectangle 101">
              <a:extLst>
                <a:ext uri="{FF2B5EF4-FFF2-40B4-BE49-F238E27FC236}">
                  <a16:creationId xmlns:a16="http://schemas.microsoft.com/office/drawing/2014/main" id="{C2801791-014C-4C66-B12E-E3609125D592}"/>
                </a:ext>
              </a:extLst>
            </p:cNvPr>
            <p:cNvSpPr/>
            <p:nvPr/>
          </p:nvSpPr>
          <p:spPr>
            <a:xfrm>
              <a:off x="9509761" y="5019024"/>
              <a:ext cx="2468880" cy="341632"/>
            </a:xfrm>
            <a:prstGeom prst="rect">
              <a:avLst/>
            </a:prstGeom>
          </p:spPr>
          <p:txBody>
            <a:bodyPr wrap="square" anchor="ctr" anchorCtr="0">
              <a:spAutoFit/>
            </a:bodyPr>
            <a:lstStyle/>
            <a:p>
              <a:pPr algn="ctr" defTabSz="914367">
                <a:lnSpc>
                  <a:spcPct val="90000"/>
                </a:lnSpc>
                <a:spcBef>
                  <a:spcPts val="587"/>
                </a:spcBef>
                <a:defRPr/>
              </a:pPr>
              <a:r>
                <a:rPr lang="en-US" sz="1765">
                  <a:gradFill>
                    <a:gsLst>
                      <a:gs pos="1250">
                        <a:srgbClr val="353535"/>
                      </a:gs>
                      <a:gs pos="100000">
                        <a:srgbClr val="353535"/>
                      </a:gs>
                    </a:gsLst>
                    <a:lin ang="5400000" scaled="0"/>
                  </a:gradFill>
                  <a:latin typeface="Segoe UI Semilight"/>
                  <a:cs typeface="Segoe UI" panose="020B0502040204020203" pitchFamily="34" charset="0"/>
                </a:rPr>
                <a:t>$79,995</a:t>
              </a:r>
            </a:p>
          </p:txBody>
        </p:sp>
        <p:sp>
          <p:nvSpPr>
            <p:cNvPr id="103" name="Rectangle 102">
              <a:extLst>
                <a:ext uri="{FF2B5EF4-FFF2-40B4-BE49-F238E27FC236}">
                  <a16:creationId xmlns:a16="http://schemas.microsoft.com/office/drawing/2014/main" id="{B3CC001A-3AC9-4B0F-80AB-3E2C14BAF0C3}"/>
                </a:ext>
              </a:extLst>
            </p:cNvPr>
            <p:cNvSpPr/>
            <p:nvPr/>
          </p:nvSpPr>
          <p:spPr bwMode="auto">
            <a:xfrm>
              <a:off x="9509761" y="4953987"/>
              <a:ext cx="2468880" cy="0"/>
            </a:xfrm>
            <a:prstGeom prst="rect">
              <a:avLst/>
            </a:prstGeom>
            <a:solidFill>
              <a:schemeClr val="bg1"/>
            </a:solidFill>
            <a:ln w="6350">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1" rIns="0" bIns="45721" numCol="1" spcCol="0" rtlCol="0" fromWordArt="0" anchor="ctr" anchorCtr="0" forceAA="0" compatLnSpc="1">
              <a:prstTxWarp prst="textNoShape">
                <a:avLst/>
              </a:prstTxWarp>
              <a:noAutofit/>
            </a:bodyPr>
            <a:lstStyle/>
            <a:p>
              <a:pPr algn="ctr" defTabSz="914053" fontAlgn="base">
                <a:spcBef>
                  <a:spcPct val="0"/>
                </a:spcBef>
                <a:spcAft>
                  <a:spcPct val="0"/>
                </a:spcAft>
                <a:defRPr/>
              </a:pPr>
              <a:endParaRPr lang="en-US" sz="1568">
                <a:gradFill>
                  <a:gsLst>
                    <a:gs pos="5439">
                      <a:srgbClr val="F8F8F8"/>
                    </a:gs>
                    <a:gs pos="10000">
                      <a:srgbClr val="F8F8F8"/>
                    </a:gs>
                  </a:gsLst>
                  <a:lin ang="5400000" scaled="0"/>
                </a:gradFill>
                <a:latin typeface="Segoe UI"/>
              </a:endParaRPr>
            </a:p>
          </p:txBody>
        </p:sp>
      </p:grpSp>
      <p:sp>
        <p:nvSpPr>
          <p:cNvPr id="104" name="Rectangle 103">
            <a:extLst>
              <a:ext uri="{FF2B5EF4-FFF2-40B4-BE49-F238E27FC236}">
                <a16:creationId xmlns:a16="http://schemas.microsoft.com/office/drawing/2014/main" id="{B0119045-3225-4D36-B362-4C2EFDAA3DBF}"/>
              </a:ext>
            </a:extLst>
          </p:cNvPr>
          <p:cNvSpPr/>
          <p:nvPr/>
        </p:nvSpPr>
        <p:spPr bwMode="auto">
          <a:xfrm>
            <a:off x="1" y="487"/>
            <a:ext cx="12192000" cy="10611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3529">
              <a:gradFill>
                <a:gsLst>
                  <a:gs pos="0">
                    <a:srgbClr val="FFFFFF"/>
                  </a:gs>
                  <a:gs pos="100000">
                    <a:srgbClr val="FFFFFF"/>
                  </a:gs>
                </a:gsLst>
                <a:lin ang="5400000" scaled="0"/>
              </a:gradFill>
              <a:latin typeface="Segoe UI Semilight"/>
              <a:cs typeface="Segoe UI" pitchFamily="34" charset="0"/>
            </a:endParaRPr>
          </a:p>
        </p:txBody>
      </p:sp>
      <p:sp>
        <p:nvSpPr>
          <p:cNvPr id="31" name="Title 16"/>
          <p:cNvSpPr>
            <a:spLocks noGrp="1"/>
          </p:cNvSpPr>
          <p:nvPr>
            <p:ph type="title"/>
          </p:nvPr>
        </p:nvSpPr>
        <p:spPr/>
        <p:txBody>
          <a:bodyPr/>
          <a:lstStyle/>
          <a:p>
            <a:r>
              <a:rPr lang="en-US" sz="3921"/>
              <a:t>Power BI Premium pricing</a:t>
            </a:r>
            <a:br>
              <a:rPr lang="en-US" sz="3921"/>
            </a:br>
            <a:endParaRPr lang="en-US" sz="3921"/>
          </a:p>
        </p:txBody>
      </p:sp>
      <p:sp>
        <p:nvSpPr>
          <p:cNvPr id="28" name="Rectangle 27"/>
          <p:cNvSpPr/>
          <p:nvPr/>
        </p:nvSpPr>
        <p:spPr>
          <a:xfrm>
            <a:off x="448568" y="5810499"/>
            <a:ext cx="11294865" cy="579315"/>
          </a:xfrm>
          <a:prstGeom prst="rect">
            <a:avLst/>
          </a:prstGeom>
        </p:spPr>
        <p:txBody>
          <a:bodyPr wrap="square" anchor="b" anchorCtr="0">
            <a:spAutoFit/>
          </a:bodyPr>
          <a:lstStyle/>
          <a:p>
            <a:pPr defTabSz="914178">
              <a:lnSpc>
                <a:spcPct val="90000"/>
              </a:lnSpc>
              <a:defRPr/>
            </a:pPr>
            <a:r>
              <a:rPr lang="en-US" sz="1176" baseline="300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1</a:t>
            </a:r>
            <a:r>
              <a:rPr lang="en-US" sz="1176">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Can use virtual core pooling to allocate capacities. See </a:t>
            </a:r>
            <a:r>
              <a:rPr lang="en-US" sz="1176">
                <a:gradFill>
                  <a:gsLst>
                    <a:gs pos="1250">
                      <a:srgbClr val="353535"/>
                    </a:gs>
                    <a:gs pos="100000">
                      <a:srgbClr val="353535"/>
                    </a:gs>
                  </a:gsLst>
                  <a:lin ang="5400000" scaled="0"/>
                </a:gradFill>
                <a:latin typeface="Segoe UI" panose="020B0502040204020203" pitchFamily="34" charset="0"/>
                <a:cs typeface="Segoe UI" panose="020B0502040204020203" pitchFamily="34" charset="0"/>
                <a:hlinkClick r:id="rId3"/>
              </a:rPr>
              <a:t>this </a:t>
            </a:r>
            <a:r>
              <a:rPr lang="en-US" sz="1176">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for more information</a:t>
            </a:r>
          </a:p>
          <a:p>
            <a:pPr defTabSz="914178">
              <a:lnSpc>
                <a:spcPct val="90000"/>
              </a:lnSpc>
              <a:defRPr/>
            </a:pPr>
            <a:r>
              <a:rPr lang="en-US" sz="1176" baseline="300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2 </a:t>
            </a:r>
            <a:r>
              <a:rPr lang="en-US" sz="1176">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Yearly commitment. EM3-P1 also available with monthly commitment via Web Direct</a:t>
            </a:r>
            <a:br>
              <a:rPr lang="en-US" sz="1176">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176" baseline="300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3</a:t>
            </a:r>
            <a:r>
              <a:rPr lang="en-US" sz="1176">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 EM1, EM2, EM3 SKUs do not include Power BI Report Server</a:t>
            </a:r>
          </a:p>
        </p:txBody>
      </p:sp>
      <p:sp>
        <p:nvSpPr>
          <p:cNvPr id="105" name="Rectangle 104">
            <a:extLst>
              <a:ext uri="{FF2B5EF4-FFF2-40B4-BE49-F238E27FC236}">
                <a16:creationId xmlns:a16="http://schemas.microsoft.com/office/drawing/2014/main" id="{529C0264-B16D-4380-A5BB-8173547B16AD}"/>
              </a:ext>
            </a:extLst>
          </p:cNvPr>
          <p:cNvSpPr/>
          <p:nvPr/>
        </p:nvSpPr>
        <p:spPr>
          <a:xfrm>
            <a:off x="3210005" y="6502335"/>
            <a:ext cx="5021594" cy="241381"/>
          </a:xfrm>
          <a:prstGeom prst="rect">
            <a:avLst/>
          </a:prstGeom>
        </p:spPr>
        <p:txBody>
          <a:bodyPr wrap="square">
            <a:spAutoFit/>
          </a:bodyPr>
          <a:lstStyle/>
          <a:p>
            <a:pPr algn="r" defTabSz="896386">
              <a:defRPr/>
            </a:pPr>
            <a:r>
              <a:rPr lang="en-US" sz="98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ll pricing subject to change, please consult price list for actual pricing</a:t>
            </a:r>
          </a:p>
        </p:txBody>
      </p:sp>
    </p:spTree>
    <p:extLst>
      <p:ext uri="{BB962C8B-B14F-4D97-AF65-F5344CB8AC3E}">
        <p14:creationId xmlns:p14="http://schemas.microsoft.com/office/powerpoint/2010/main" val="11249011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000" fill="hold"/>
                                        <p:tgtEl>
                                          <p:spTgt spid="2"/>
                                        </p:tgtEl>
                                        <p:attrNameLst>
                                          <p:attrName>ppt_x</p:attrName>
                                        </p:attrNameLst>
                                      </p:cBhvr>
                                      <p:tavLst>
                                        <p:tav tm="0">
                                          <p:val>
                                            <p:strVal val="#ppt_x"/>
                                          </p:val>
                                        </p:tav>
                                        <p:tav tm="100000">
                                          <p:val>
                                            <p:strVal val="#ppt_x"/>
                                          </p:val>
                                        </p:tav>
                                      </p:tavLst>
                                    </p:anim>
                                    <p:anim calcmode="lin" valueType="num">
                                      <p:cBhvr additive="base">
                                        <p:cTn id="8" dur="2000" fill="hold"/>
                                        <p:tgtEl>
                                          <p:spTgt spid="2"/>
                                        </p:tgtEl>
                                        <p:attrNameLst>
                                          <p:attrName>ppt_y</p:attrName>
                                        </p:attrNameLst>
                                      </p:cBhvr>
                                      <p:tavLst>
                                        <p:tav tm="0">
                                          <p:val>
                                            <p:strVal val="0-#ppt_h/2"/>
                                          </p:val>
                                        </p:tav>
                                        <p:tav tm="100000">
                                          <p:val>
                                            <p:strVal val="#ppt_y"/>
                                          </p:val>
                                        </p:tav>
                                      </p:tavLst>
                                    </p:anim>
                                  </p:childTnLst>
                                </p:cTn>
                              </p:par>
                            </p:childTnLst>
                          </p:cTn>
                        </p:par>
                        <p:par>
                          <p:cTn id="9" fill="hold">
                            <p:stCondLst>
                              <p:cond delay="2000"/>
                            </p:stCondLst>
                            <p:childTnLst>
                              <p:par>
                                <p:cTn id="10" presetID="10" presetClass="entr" presetSubtype="0" fill="hold" grpId="0" nodeType="after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1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7A141-5F5A-41CA-8F35-3A6F7A58A750}"/>
              </a:ext>
            </a:extLst>
          </p:cNvPr>
          <p:cNvSpPr>
            <a:spLocks noGrp="1"/>
          </p:cNvSpPr>
          <p:nvPr>
            <p:ph type="title"/>
          </p:nvPr>
        </p:nvSpPr>
        <p:spPr>
          <a:xfrm>
            <a:off x="519791" y="526585"/>
            <a:ext cx="6609339" cy="402302"/>
          </a:xfrm>
        </p:spPr>
        <p:txBody>
          <a:bodyPr/>
          <a:lstStyle/>
          <a:p>
            <a:r>
              <a:rPr lang="en-US" dirty="0"/>
              <a:t>Power BI Tooling</a:t>
            </a:r>
          </a:p>
        </p:txBody>
      </p:sp>
      <p:sp>
        <p:nvSpPr>
          <p:cNvPr id="8" name="Text Placeholder 2">
            <a:extLst>
              <a:ext uri="{FF2B5EF4-FFF2-40B4-BE49-F238E27FC236}">
                <a16:creationId xmlns:a16="http://schemas.microsoft.com/office/drawing/2014/main" id="{0FDD2EC8-8DA5-4465-9AD0-32A80CB9CD78}"/>
              </a:ext>
            </a:extLst>
          </p:cNvPr>
          <p:cNvSpPr txBox="1">
            <a:spLocks/>
          </p:cNvSpPr>
          <p:nvPr/>
        </p:nvSpPr>
        <p:spPr>
          <a:xfrm>
            <a:off x="519792" y="1268844"/>
            <a:ext cx="3618381" cy="230832"/>
          </a:xfrm>
          <a:prstGeom prst="rect">
            <a:avLst/>
          </a:prstGeom>
        </p:spPr>
        <p:txBody>
          <a:bodyPr vert="horz" wrap="square" lIns="0" tIns="0" rIns="0" bIns="0" rtlCol="0" anchor="t">
            <a:spAutoFit/>
          </a:bodyPr>
          <a:lstStyle>
            <a:lvl1pPr marL="0" marR="0" indent="0" algn="l" defTabSz="914367"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568" b="1" dirty="0"/>
              <a:t>Power BI Desktop</a:t>
            </a:r>
            <a:endParaRPr lang="en-US" dirty="0"/>
          </a:p>
        </p:txBody>
      </p:sp>
      <p:sp>
        <p:nvSpPr>
          <p:cNvPr id="12" name="Text Placeholder 9">
            <a:extLst>
              <a:ext uri="{FF2B5EF4-FFF2-40B4-BE49-F238E27FC236}">
                <a16:creationId xmlns:a16="http://schemas.microsoft.com/office/drawing/2014/main" id="{D6601820-7E53-41B8-9E00-8AD1C56E5832}"/>
              </a:ext>
            </a:extLst>
          </p:cNvPr>
          <p:cNvSpPr txBox="1">
            <a:spLocks/>
          </p:cNvSpPr>
          <p:nvPr/>
        </p:nvSpPr>
        <p:spPr>
          <a:xfrm>
            <a:off x="519791" y="1682971"/>
            <a:ext cx="3618381" cy="2291268"/>
          </a:xfrm>
          <a:prstGeom prst="rect">
            <a:avLst/>
          </a:prstGeom>
        </p:spPr>
        <p:txBody>
          <a:bodyPr vert="horz" wrap="square" lIns="0" tIns="0" rIns="0" bIns="0" rtlCol="0" anchor="t">
            <a:spAutoFit/>
          </a:bodyPr>
          <a:lstStyle>
            <a:lvl1pPr marL="0" marR="0" indent="0" algn="l" defTabSz="914367" rtl="0" eaLnBrk="1" fontAlgn="auto" latinLnBrk="0" hangingPunct="1">
              <a:lnSpc>
                <a:spcPts val="1765"/>
              </a:lnSpc>
              <a:spcBef>
                <a:spcPts val="0"/>
              </a:spcBef>
              <a:spcAft>
                <a:spcPts val="0"/>
              </a:spcAft>
              <a:buClrTx/>
              <a:buSzPct val="90000"/>
              <a:buFont typeface="Arial" panose="020B0604020202020204" pitchFamily="34" charset="0"/>
              <a:buNone/>
              <a:tabLst/>
              <a:defRPr sz="1372" b="0" i="0" kern="1200" spc="0" baseline="0">
                <a:solidFill>
                  <a:srgbClr val="000000"/>
                </a:solidFill>
                <a:latin typeface="+mn-lt"/>
                <a:ea typeface="+mn-ea"/>
                <a:cs typeface="+mn-cs"/>
              </a:defRPr>
            </a:lvl1pPr>
            <a:lvl2pPr marL="0" marR="0" indent="0" algn="l" defTabSz="914367" rtl="0" eaLnBrk="1" fontAlgn="auto" latinLnBrk="0" hangingPunct="1">
              <a:lnSpc>
                <a:spcPts val="1765"/>
              </a:lnSpc>
              <a:spcBef>
                <a:spcPts val="0"/>
              </a:spcBef>
              <a:spcAft>
                <a:spcPts val="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0121" indent="-280121">
              <a:buFont typeface="Wingdings" panose="05000000000000000000" pitchFamily="2" charset="2"/>
              <a:buChar char="q"/>
            </a:pPr>
            <a:r>
              <a:rPr lang="en-US" sz="1400" dirty="0"/>
              <a:t>Licensed by </a:t>
            </a:r>
            <a:r>
              <a:rPr lang="en-US" sz="1400" b="1" dirty="0">
                <a:solidFill>
                  <a:srgbClr val="0070C0"/>
                </a:solidFill>
              </a:rPr>
              <a:t>users</a:t>
            </a:r>
            <a:r>
              <a:rPr lang="en-US" sz="1400" dirty="0"/>
              <a:t>.</a:t>
            </a:r>
          </a:p>
          <a:p>
            <a:pPr marL="280121" indent="-280121">
              <a:buFont typeface="Wingdings" panose="05000000000000000000" pitchFamily="2" charset="2"/>
              <a:buChar char="q"/>
            </a:pPr>
            <a:r>
              <a:rPr lang="en-US" sz="1400" dirty="0"/>
              <a:t>Free to use; however, sharing reports and publishing to cloud require Power BI Pro subscription.</a:t>
            </a:r>
          </a:p>
          <a:p>
            <a:pPr marL="280121" indent="-280121">
              <a:buFont typeface="Wingdings" panose="05000000000000000000" pitchFamily="2" charset="2"/>
              <a:buChar char="q"/>
            </a:pPr>
            <a:r>
              <a:rPr lang="en-US" sz="1400" dirty="0"/>
              <a:t>Quick, easy-to-use self-service analytics for users requiring collaboration, dashboard sharing, ad hoc analysis, and report publishing.</a:t>
            </a:r>
          </a:p>
          <a:p>
            <a:pPr marL="280121" indent="-280121">
              <a:buFont typeface="Wingdings" panose="05000000000000000000" pitchFamily="2" charset="2"/>
              <a:buChar char="q"/>
            </a:pPr>
            <a:r>
              <a:rPr lang="en-US" sz="1400" dirty="0"/>
              <a:t>Use in tandem with Power BI Service (cloud-based hosting)</a:t>
            </a:r>
          </a:p>
        </p:txBody>
      </p:sp>
      <p:sp>
        <p:nvSpPr>
          <p:cNvPr id="14" name="Text Placeholder 2">
            <a:extLst>
              <a:ext uri="{FF2B5EF4-FFF2-40B4-BE49-F238E27FC236}">
                <a16:creationId xmlns:a16="http://schemas.microsoft.com/office/drawing/2014/main" id="{23916F46-BFE8-4CDC-AE3B-EB80F5FE6329}"/>
              </a:ext>
            </a:extLst>
          </p:cNvPr>
          <p:cNvSpPr txBox="1">
            <a:spLocks/>
          </p:cNvSpPr>
          <p:nvPr/>
        </p:nvSpPr>
        <p:spPr>
          <a:xfrm>
            <a:off x="519792" y="4251852"/>
            <a:ext cx="3618381" cy="230832"/>
          </a:xfrm>
          <a:prstGeom prst="rect">
            <a:avLst/>
          </a:prstGeom>
        </p:spPr>
        <p:txBody>
          <a:bodyPr vert="horz" wrap="square" lIns="0" tIns="0" rIns="0" bIns="0" rtlCol="0" anchor="t">
            <a:spAutoFit/>
          </a:bodyPr>
          <a:lstStyle>
            <a:lvl1pPr marL="0" marR="0" indent="0" algn="l" defTabSz="914367"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568" b="1" dirty="0"/>
              <a:t>Power BI Desktop for Report Server</a:t>
            </a:r>
            <a:endParaRPr lang="en-US" dirty="0"/>
          </a:p>
        </p:txBody>
      </p:sp>
      <p:sp>
        <p:nvSpPr>
          <p:cNvPr id="16" name="Text Placeholder 9">
            <a:extLst>
              <a:ext uri="{FF2B5EF4-FFF2-40B4-BE49-F238E27FC236}">
                <a16:creationId xmlns:a16="http://schemas.microsoft.com/office/drawing/2014/main" id="{A67B83D4-4291-445A-8181-64E0EB4680B1}"/>
              </a:ext>
            </a:extLst>
          </p:cNvPr>
          <p:cNvSpPr txBox="1">
            <a:spLocks/>
          </p:cNvSpPr>
          <p:nvPr/>
        </p:nvSpPr>
        <p:spPr>
          <a:xfrm>
            <a:off x="519791" y="4665979"/>
            <a:ext cx="3618381" cy="1829603"/>
          </a:xfrm>
          <a:prstGeom prst="rect">
            <a:avLst/>
          </a:prstGeom>
        </p:spPr>
        <p:txBody>
          <a:bodyPr vert="horz" wrap="square" lIns="0" tIns="0" rIns="0" bIns="0" rtlCol="0" anchor="t">
            <a:spAutoFit/>
          </a:bodyPr>
          <a:lstStyle>
            <a:lvl1pPr marL="0" marR="0" indent="0" algn="l" defTabSz="914367" rtl="0" eaLnBrk="1" fontAlgn="auto" latinLnBrk="0" hangingPunct="1">
              <a:lnSpc>
                <a:spcPts val="1765"/>
              </a:lnSpc>
              <a:spcBef>
                <a:spcPts val="0"/>
              </a:spcBef>
              <a:spcAft>
                <a:spcPts val="0"/>
              </a:spcAft>
              <a:buClrTx/>
              <a:buSzPct val="90000"/>
              <a:buFont typeface="Arial" panose="020B0604020202020204" pitchFamily="34" charset="0"/>
              <a:buNone/>
              <a:tabLst/>
              <a:defRPr sz="1372" b="0" i="0" kern="1200" spc="0" baseline="0">
                <a:solidFill>
                  <a:srgbClr val="000000"/>
                </a:solidFill>
                <a:latin typeface="+mn-lt"/>
                <a:ea typeface="+mn-ea"/>
                <a:cs typeface="+mn-cs"/>
              </a:defRPr>
            </a:lvl1pPr>
            <a:lvl2pPr marL="0" marR="0" indent="0" algn="l" defTabSz="914367" rtl="0" eaLnBrk="1" fontAlgn="auto" latinLnBrk="0" hangingPunct="1">
              <a:lnSpc>
                <a:spcPts val="1765"/>
              </a:lnSpc>
              <a:spcBef>
                <a:spcPts val="0"/>
              </a:spcBef>
              <a:spcAft>
                <a:spcPts val="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0121" indent="-280121">
              <a:buFont typeface="Wingdings" panose="05000000000000000000" pitchFamily="2" charset="2"/>
              <a:buChar char="q"/>
            </a:pPr>
            <a:r>
              <a:rPr lang="en-US" sz="1400" dirty="0"/>
              <a:t>Licensed by </a:t>
            </a:r>
            <a:r>
              <a:rPr lang="en-US" sz="1400" b="1" dirty="0">
                <a:solidFill>
                  <a:srgbClr val="0070C0"/>
                </a:solidFill>
              </a:rPr>
              <a:t>users</a:t>
            </a:r>
            <a:r>
              <a:rPr lang="en-US" sz="1400" dirty="0"/>
              <a:t>.</a:t>
            </a:r>
          </a:p>
          <a:p>
            <a:pPr marL="280121" indent="-280121">
              <a:buFont typeface="Wingdings" panose="05000000000000000000" pitchFamily="2" charset="2"/>
              <a:buChar char="q"/>
            </a:pPr>
            <a:r>
              <a:rPr lang="en-US" sz="1400" dirty="0"/>
              <a:t>Free to use.</a:t>
            </a:r>
          </a:p>
          <a:p>
            <a:pPr marL="280121" indent="-280121">
              <a:buFont typeface="Wingdings" panose="05000000000000000000" pitchFamily="2" charset="2"/>
              <a:buChar char="q"/>
            </a:pPr>
            <a:r>
              <a:rPr lang="en-US" sz="1400" dirty="0"/>
              <a:t>Quick, easy-to-use self-service analytics for users requiring collaboration, dashboard sharing, ad hoc analysis, and report publishing.</a:t>
            </a:r>
          </a:p>
          <a:p>
            <a:pPr marL="280121" indent="-280121">
              <a:buFont typeface="Wingdings" panose="05000000000000000000" pitchFamily="2" charset="2"/>
              <a:buChar char="q"/>
            </a:pPr>
            <a:r>
              <a:rPr lang="en-US" sz="1400" dirty="0"/>
              <a:t>Use in tandem with Power BI Report Server (on-premise hosting)</a:t>
            </a:r>
          </a:p>
        </p:txBody>
      </p:sp>
      <p:sp>
        <p:nvSpPr>
          <p:cNvPr id="18" name="Text Placeholder 2">
            <a:extLst>
              <a:ext uri="{FF2B5EF4-FFF2-40B4-BE49-F238E27FC236}">
                <a16:creationId xmlns:a16="http://schemas.microsoft.com/office/drawing/2014/main" id="{C03C998C-E93C-4D52-90CA-C2C7617C4AB0}"/>
              </a:ext>
            </a:extLst>
          </p:cNvPr>
          <p:cNvSpPr txBox="1">
            <a:spLocks/>
          </p:cNvSpPr>
          <p:nvPr/>
        </p:nvSpPr>
        <p:spPr>
          <a:xfrm>
            <a:off x="4654085" y="1268844"/>
            <a:ext cx="3618381" cy="230832"/>
          </a:xfrm>
          <a:prstGeom prst="rect">
            <a:avLst/>
          </a:prstGeom>
        </p:spPr>
        <p:txBody>
          <a:bodyPr vert="horz" wrap="square" lIns="0" tIns="0" rIns="0" bIns="0" rtlCol="0" anchor="t">
            <a:spAutoFit/>
          </a:bodyPr>
          <a:lstStyle>
            <a:lvl1pPr marL="0" marR="0" indent="0" algn="l" defTabSz="914367"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568" b="1" dirty="0"/>
              <a:t>Dax Studio</a:t>
            </a:r>
            <a:endParaRPr lang="en-US" dirty="0"/>
          </a:p>
        </p:txBody>
      </p:sp>
      <p:sp>
        <p:nvSpPr>
          <p:cNvPr id="20" name="Text Placeholder 9">
            <a:extLst>
              <a:ext uri="{FF2B5EF4-FFF2-40B4-BE49-F238E27FC236}">
                <a16:creationId xmlns:a16="http://schemas.microsoft.com/office/drawing/2014/main" id="{138658F2-0373-4F6F-9D1F-27D4E4D53DAC}"/>
              </a:ext>
            </a:extLst>
          </p:cNvPr>
          <p:cNvSpPr txBox="1">
            <a:spLocks/>
          </p:cNvSpPr>
          <p:nvPr/>
        </p:nvSpPr>
        <p:spPr>
          <a:xfrm>
            <a:off x="4654084" y="1682971"/>
            <a:ext cx="3618381" cy="1598771"/>
          </a:xfrm>
          <a:prstGeom prst="rect">
            <a:avLst/>
          </a:prstGeom>
        </p:spPr>
        <p:txBody>
          <a:bodyPr vert="horz" wrap="square" lIns="0" tIns="0" rIns="0" bIns="0" rtlCol="0" anchor="t">
            <a:spAutoFit/>
          </a:bodyPr>
          <a:lstStyle>
            <a:lvl1pPr marL="0" marR="0" indent="0" algn="l" defTabSz="914367" rtl="0" eaLnBrk="1" fontAlgn="auto" latinLnBrk="0" hangingPunct="1">
              <a:lnSpc>
                <a:spcPts val="1765"/>
              </a:lnSpc>
              <a:spcBef>
                <a:spcPts val="0"/>
              </a:spcBef>
              <a:spcAft>
                <a:spcPts val="0"/>
              </a:spcAft>
              <a:buClrTx/>
              <a:buSzPct val="90000"/>
              <a:buFont typeface="Arial" panose="020B0604020202020204" pitchFamily="34" charset="0"/>
              <a:buNone/>
              <a:tabLst/>
              <a:defRPr sz="1372" b="0" i="0" kern="1200" spc="0" baseline="0">
                <a:solidFill>
                  <a:srgbClr val="000000"/>
                </a:solidFill>
                <a:latin typeface="+mn-lt"/>
                <a:ea typeface="+mn-ea"/>
                <a:cs typeface="+mn-cs"/>
              </a:defRPr>
            </a:lvl1pPr>
            <a:lvl2pPr marL="0" marR="0" indent="0" algn="l" defTabSz="914367" rtl="0" eaLnBrk="1" fontAlgn="auto" latinLnBrk="0" hangingPunct="1">
              <a:lnSpc>
                <a:spcPts val="1765"/>
              </a:lnSpc>
              <a:spcBef>
                <a:spcPts val="0"/>
              </a:spcBef>
              <a:spcAft>
                <a:spcPts val="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0121" indent="-280121">
              <a:buFont typeface="Wingdings" panose="05000000000000000000" pitchFamily="2" charset="2"/>
              <a:buChar char="q"/>
            </a:pPr>
            <a:r>
              <a:rPr lang="en-US" sz="1400" dirty="0"/>
              <a:t>Licensed by </a:t>
            </a:r>
            <a:r>
              <a:rPr lang="en-US" sz="1400" b="1" dirty="0">
                <a:solidFill>
                  <a:srgbClr val="0070C0"/>
                </a:solidFill>
              </a:rPr>
              <a:t>users</a:t>
            </a:r>
            <a:r>
              <a:rPr lang="en-US" sz="1400" dirty="0"/>
              <a:t>.</a:t>
            </a:r>
          </a:p>
          <a:p>
            <a:pPr marL="280121" indent="-280121">
              <a:buFont typeface="Wingdings" panose="05000000000000000000" pitchFamily="2" charset="2"/>
              <a:buChar char="q"/>
            </a:pPr>
            <a:r>
              <a:rPr lang="en-US" sz="1400" dirty="0"/>
              <a:t>Free to use.</a:t>
            </a:r>
          </a:p>
          <a:p>
            <a:pPr marL="280121" indent="-280121">
              <a:buFont typeface="Wingdings" panose="05000000000000000000" pitchFamily="2" charset="2"/>
              <a:buChar char="q"/>
            </a:pPr>
            <a:r>
              <a:rPr lang="en-US" sz="1400" dirty="0"/>
              <a:t>A client tool for executing DAX queries against various data sources.</a:t>
            </a:r>
          </a:p>
          <a:p>
            <a:pPr marL="280121" indent="-280121">
              <a:buFont typeface="Wingdings" panose="05000000000000000000" pitchFamily="2" charset="2"/>
              <a:buChar char="q"/>
            </a:pPr>
            <a:r>
              <a:rPr lang="en-US" sz="1400" dirty="0"/>
              <a:t>DAX Studio will scan the local machine for any running instances of Power BI Desktop or SSDT Integrated Workspaces.</a:t>
            </a:r>
          </a:p>
        </p:txBody>
      </p:sp>
      <p:sp>
        <p:nvSpPr>
          <p:cNvPr id="22" name="Text Placeholder 2">
            <a:extLst>
              <a:ext uri="{FF2B5EF4-FFF2-40B4-BE49-F238E27FC236}">
                <a16:creationId xmlns:a16="http://schemas.microsoft.com/office/drawing/2014/main" id="{7D4E62DB-5327-4026-888E-59BDF0E7410D}"/>
              </a:ext>
            </a:extLst>
          </p:cNvPr>
          <p:cNvSpPr txBox="1">
            <a:spLocks/>
          </p:cNvSpPr>
          <p:nvPr/>
        </p:nvSpPr>
        <p:spPr>
          <a:xfrm>
            <a:off x="4654084" y="4251852"/>
            <a:ext cx="3618381" cy="230832"/>
          </a:xfrm>
          <a:prstGeom prst="rect">
            <a:avLst/>
          </a:prstGeom>
        </p:spPr>
        <p:txBody>
          <a:bodyPr vert="horz" wrap="square" lIns="0" tIns="0" rIns="0" bIns="0" rtlCol="0" anchor="t">
            <a:spAutoFit/>
          </a:bodyPr>
          <a:lstStyle>
            <a:lvl1pPr marL="0" marR="0" indent="0" algn="l" defTabSz="914367"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568" b="1" dirty="0"/>
              <a:t>Power BI Report Builder</a:t>
            </a:r>
            <a:endParaRPr lang="en-US" dirty="0"/>
          </a:p>
        </p:txBody>
      </p:sp>
      <p:sp>
        <p:nvSpPr>
          <p:cNvPr id="24" name="Text Placeholder 9">
            <a:extLst>
              <a:ext uri="{FF2B5EF4-FFF2-40B4-BE49-F238E27FC236}">
                <a16:creationId xmlns:a16="http://schemas.microsoft.com/office/drawing/2014/main" id="{0F39B9BC-FB48-41F5-93FF-5DE13E143FB6}"/>
              </a:ext>
            </a:extLst>
          </p:cNvPr>
          <p:cNvSpPr txBox="1">
            <a:spLocks/>
          </p:cNvSpPr>
          <p:nvPr/>
        </p:nvSpPr>
        <p:spPr>
          <a:xfrm>
            <a:off x="4654083" y="4665979"/>
            <a:ext cx="3618381" cy="1367939"/>
          </a:xfrm>
          <a:prstGeom prst="rect">
            <a:avLst/>
          </a:prstGeom>
        </p:spPr>
        <p:txBody>
          <a:bodyPr vert="horz" wrap="square" lIns="0" tIns="0" rIns="0" bIns="0" rtlCol="0" anchor="t">
            <a:spAutoFit/>
          </a:bodyPr>
          <a:lstStyle>
            <a:lvl1pPr marL="0" marR="0" indent="0" algn="l" defTabSz="914367" rtl="0" eaLnBrk="1" fontAlgn="auto" latinLnBrk="0" hangingPunct="1">
              <a:lnSpc>
                <a:spcPts val="1765"/>
              </a:lnSpc>
              <a:spcBef>
                <a:spcPts val="0"/>
              </a:spcBef>
              <a:spcAft>
                <a:spcPts val="0"/>
              </a:spcAft>
              <a:buClrTx/>
              <a:buSzPct val="90000"/>
              <a:buFont typeface="Arial" panose="020B0604020202020204" pitchFamily="34" charset="0"/>
              <a:buNone/>
              <a:tabLst/>
              <a:defRPr sz="1372" b="0" i="0" kern="1200" spc="0" baseline="0">
                <a:solidFill>
                  <a:srgbClr val="000000"/>
                </a:solidFill>
                <a:latin typeface="+mn-lt"/>
                <a:ea typeface="+mn-ea"/>
                <a:cs typeface="+mn-cs"/>
              </a:defRPr>
            </a:lvl1pPr>
            <a:lvl2pPr marL="0" marR="0" indent="0" algn="l" defTabSz="914367" rtl="0" eaLnBrk="1" fontAlgn="auto" latinLnBrk="0" hangingPunct="1">
              <a:lnSpc>
                <a:spcPts val="1765"/>
              </a:lnSpc>
              <a:spcBef>
                <a:spcPts val="0"/>
              </a:spcBef>
              <a:spcAft>
                <a:spcPts val="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0121" indent="-280121">
              <a:buFont typeface="Wingdings" panose="05000000000000000000" pitchFamily="2" charset="2"/>
              <a:buChar char="q"/>
            </a:pPr>
            <a:r>
              <a:rPr lang="en-US" sz="1400" dirty="0"/>
              <a:t>Licensed by </a:t>
            </a:r>
            <a:r>
              <a:rPr lang="en-US" sz="1400" b="1" dirty="0">
                <a:solidFill>
                  <a:srgbClr val="0070C0"/>
                </a:solidFill>
              </a:rPr>
              <a:t>users</a:t>
            </a:r>
            <a:r>
              <a:rPr lang="en-US" sz="1400" dirty="0"/>
              <a:t>.</a:t>
            </a:r>
          </a:p>
          <a:p>
            <a:pPr marL="280121" indent="-280121">
              <a:buFont typeface="Wingdings" panose="05000000000000000000" pitchFamily="2" charset="2"/>
              <a:buChar char="q"/>
            </a:pPr>
            <a:r>
              <a:rPr lang="en-US" sz="1400" dirty="0"/>
              <a:t>Free to use.</a:t>
            </a:r>
          </a:p>
          <a:p>
            <a:pPr marL="280121" indent="-280121">
              <a:buFont typeface="Wingdings" panose="05000000000000000000" pitchFamily="2" charset="2"/>
              <a:buChar char="q"/>
            </a:pPr>
            <a:r>
              <a:rPr lang="en-US" sz="1400" dirty="0"/>
              <a:t>A tool for authoring paginated reports.</a:t>
            </a:r>
          </a:p>
          <a:p>
            <a:pPr marL="280121" indent="-280121">
              <a:buFont typeface="Wingdings" panose="05000000000000000000" pitchFamily="2" charset="2"/>
              <a:buChar char="q"/>
            </a:pPr>
            <a:r>
              <a:rPr lang="en-US" sz="1400" dirty="0"/>
              <a:t>Use in tandem with Power BI Service or Power BI Report Server.</a:t>
            </a:r>
          </a:p>
          <a:p>
            <a:pPr marL="280121" indent="-280121">
              <a:buFont typeface="Wingdings" panose="05000000000000000000" pitchFamily="2" charset="2"/>
              <a:buChar char="q"/>
            </a:pPr>
            <a:endParaRPr lang="en-US" sz="1400" dirty="0"/>
          </a:p>
        </p:txBody>
      </p:sp>
      <p:sp>
        <p:nvSpPr>
          <p:cNvPr id="26" name="Text Placeholder 2">
            <a:extLst>
              <a:ext uri="{FF2B5EF4-FFF2-40B4-BE49-F238E27FC236}">
                <a16:creationId xmlns:a16="http://schemas.microsoft.com/office/drawing/2014/main" id="{CB73CAA2-6734-4A4C-A5A4-6961285D1E57}"/>
              </a:ext>
            </a:extLst>
          </p:cNvPr>
          <p:cNvSpPr txBox="1">
            <a:spLocks/>
          </p:cNvSpPr>
          <p:nvPr/>
        </p:nvSpPr>
        <p:spPr>
          <a:xfrm>
            <a:off x="8637415" y="1268844"/>
            <a:ext cx="3260419" cy="230832"/>
          </a:xfrm>
          <a:prstGeom prst="rect">
            <a:avLst/>
          </a:prstGeom>
        </p:spPr>
        <p:txBody>
          <a:bodyPr vert="horz" wrap="square" lIns="0" tIns="0" rIns="0" bIns="0" rtlCol="0" anchor="t">
            <a:spAutoFit/>
          </a:bodyPr>
          <a:lstStyle>
            <a:lvl1pPr marL="0" marR="0" indent="0" algn="l" defTabSz="914367"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568" b="1" dirty="0"/>
              <a:t>SSMS</a:t>
            </a:r>
            <a:endParaRPr lang="en-US" dirty="0"/>
          </a:p>
        </p:txBody>
      </p:sp>
      <p:sp>
        <p:nvSpPr>
          <p:cNvPr id="28" name="Text Placeholder 9">
            <a:extLst>
              <a:ext uri="{FF2B5EF4-FFF2-40B4-BE49-F238E27FC236}">
                <a16:creationId xmlns:a16="http://schemas.microsoft.com/office/drawing/2014/main" id="{B999D3FB-35F1-4B74-AD23-2B1FE06FA407}"/>
              </a:ext>
            </a:extLst>
          </p:cNvPr>
          <p:cNvSpPr txBox="1">
            <a:spLocks/>
          </p:cNvSpPr>
          <p:nvPr/>
        </p:nvSpPr>
        <p:spPr>
          <a:xfrm>
            <a:off x="8637414" y="1682971"/>
            <a:ext cx="3260419" cy="2060436"/>
          </a:xfrm>
          <a:prstGeom prst="rect">
            <a:avLst/>
          </a:prstGeom>
        </p:spPr>
        <p:txBody>
          <a:bodyPr vert="horz" wrap="square" lIns="0" tIns="0" rIns="0" bIns="0" rtlCol="0" anchor="t">
            <a:spAutoFit/>
          </a:bodyPr>
          <a:lstStyle>
            <a:lvl1pPr marL="0" marR="0" indent="0" algn="l" defTabSz="914367" rtl="0" eaLnBrk="1" fontAlgn="auto" latinLnBrk="0" hangingPunct="1">
              <a:lnSpc>
                <a:spcPts val="1765"/>
              </a:lnSpc>
              <a:spcBef>
                <a:spcPts val="0"/>
              </a:spcBef>
              <a:spcAft>
                <a:spcPts val="0"/>
              </a:spcAft>
              <a:buClrTx/>
              <a:buSzPct val="90000"/>
              <a:buFont typeface="Arial" panose="020B0604020202020204" pitchFamily="34" charset="0"/>
              <a:buNone/>
              <a:tabLst/>
              <a:defRPr sz="1372" b="0" i="0" kern="1200" spc="0" baseline="0">
                <a:solidFill>
                  <a:srgbClr val="000000"/>
                </a:solidFill>
                <a:latin typeface="+mn-lt"/>
                <a:ea typeface="+mn-ea"/>
                <a:cs typeface="+mn-cs"/>
              </a:defRPr>
            </a:lvl1pPr>
            <a:lvl2pPr marL="0" marR="0" indent="0" algn="l" defTabSz="914367" rtl="0" eaLnBrk="1" fontAlgn="auto" latinLnBrk="0" hangingPunct="1">
              <a:lnSpc>
                <a:spcPts val="1765"/>
              </a:lnSpc>
              <a:spcBef>
                <a:spcPts val="0"/>
              </a:spcBef>
              <a:spcAft>
                <a:spcPts val="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0121" indent="-280121">
              <a:buFont typeface="Wingdings" panose="05000000000000000000" pitchFamily="2" charset="2"/>
              <a:buChar char="q"/>
            </a:pPr>
            <a:r>
              <a:rPr lang="en-US" sz="1400" dirty="0"/>
              <a:t>Licensed by </a:t>
            </a:r>
            <a:r>
              <a:rPr lang="en-US" sz="1400" b="1" dirty="0">
                <a:solidFill>
                  <a:srgbClr val="0070C0"/>
                </a:solidFill>
              </a:rPr>
              <a:t>users</a:t>
            </a:r>
            <a:r>
              <a:rPr lang="en-US" sz="1400" dirty="0"/>
              <a:t>.</a:t>
            </a:r>
          </a:p>
          <a:p>
            <a:pPr marL="280121" indent="-280121">
              <a:buFont typeface="Wingdings" panose="05000000000000000000" pitchFamily="2" charset="2"/>
              <a:buChar char="q"/>
            </a:pPr>
            <a:r>
              <a:rPr lang="en-US" sz="1400" dirty="0"/>
              <a:t>Free to use.</a:t>
            </a:r>
          </a:p>
          <a:p>
            <a:pPr marL="280121" indent="-280121">
              <a:buFont typeface="Wingdings" panose="05000000000000000000" pitchFamily="2" charset="2"/>
              <a:buChar char="q"/>
            </a:pPr>
            <a:r>
              <a:rPr lang="en-US" sz="1400" dirty="0"/>
              <a:t>An integrated environment for managing any SQL infrastructure, from SQL Server to Azure SQL Database. </a:t>
            </a:r>
          </a:p>
          <a:p>
            <a:pPr marL="280121" indent="-280121">
              <a:buFont typeface="Wingdings" panose="05000000000000000000" pitchFamily="2" charset="2"/>
              <a:buChar char="q"/>
            </a:pPr>
            <a:r>
              <a:rPr lang="en-US" sz="1400" dirty="0"/>
              <a:t>Tools to configure, monitor, and administer instances of SQL Server and databases. </a:t>
            </a:r>
          </a:p>
        </p:txBody>
      </p:sp>
      <p:sp>
        <p:nvSpPr>
          <p:cNvPr id="34" name="Text Placeholder 2">
            <a:extLst>
              <a:ext uri="{FF2B5EF4-FFF2-40B4-BE49-F238E27FC236}">
                <a16:creationId xmlns:a16="http://schemas.microsoft.com/office/drawing/2014/main" id="{47FA81C5-6036-4A94-95CF-9806AB4E0A29}"/>
              </a:ext>
            </a:extLst>
          </p:cNvPr>
          <p:cNvSpPr txBox="1">
            <a:spLocks/>
          </p:cNvSpPr>
          <p:nvPr/>
        </p:nvSpPr>
        <p:spPr>
          <a:xfrm>
            <a:off x="8570409" y="4251852"/>
            <a:ext cx="3229393" cy="230832"/>
          </a:xfrm>
          <a:prstGeom prst="rect">
            <a:avLst/>
          </a:prstGeom>
        </p:spPr>
        <p:txBody>
          <a:bodyPr vert="horz" wrap="square" lIns="0" tIns="0" rIns="0" bIns="0" rtlCol="0" anchor="t">
            <a:spAutoFit/>
          </a:bodyPr>
          <a:lstStyle>
            <a:lvl1pPr marL="0" marR="0" indent="0" algn="l" defTabSz="914367"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568" b="1" dirty="0"/>
              <a:t>SSDT</a:t>
            </a:r>
            <a:endParaRPr lang="en-US" dirty="0"/>
          </a:p>
        </p:txBody>
      </p:sp>
      <p:sp>
        <p:nvSpPr>
          <p:cNvPr id="36" name="Text Placeholder 9">
            <a:extLst>
              <a:ext uri="{FF2B5EF4-FFF2-40B4-BE49-F238E27FC236}">
                <a16:creationId xmlns:a16="http://schemas.microsoft.com/office/drawing/2014/main" id="{C1E41023-62C9-4132-B635-3B89D523FF02}"/>
              </a:ext>
            </a:extLst>
          </p:cNvPr>
          <p:cNvSpPr txBox="1">
            <a:spLocks/>
          </p:cNvSpPr>
          <p:nvPr/>
        </p:nvSpPr>
        <p:spPr>
          <a:xfrm>
            <a:off x="8570408" y="4665979"/>
            <a:ext cx="3229393" cy="1829603"/>
          </a:xfrm>
          <a:prstGeom prst="rect">
            <a:avLst/>
          </a:prstGeom>
        </p:spPr>
        <p:txBody>
          <a:bodyPr vert="horz" wrap="square" lIns="0" tIns="0" rIns="0" bIns="0" rtlCol="0" anchor="t">
            <a:spAutoFit/>
          </a:bodyPr>
          <a:lstStyle>
            <a:lvl1pPr marL="0" marR="0" indent="0" algn="l" defTabSz="914367" rtl="0" eaLnBrk="1" fontAlgn="auto" latinLnBrk="0" hangingPunct="1">
              <a:lnSpc>
                <a:spcPts val="1765"/>
              </a:lnSpc>
              <a:spcBef>
                <a:spcPts val="0"/>
              </a:spcBef>
              <a:spcAft>
                <a:spcPts val="0"/>
              </a:spcAft>
              <a:buClrTx/>
              <a:buSzPct val="90000"/>
              <a:buFont typeface="Arial" panose="020B0604020202020204" pitchFamily="34" charset="0"/>
              <a:buNone/>
              <a:tabLst/>
              <a:defRPr sz="1372" b="0" i="0" kern="1200" spc="0" baseline="0">
                <a:solidFill>
                  <a:srgbClr val="000000"/>
                </a:solidFill>
                <a:latin typeface="+mn-lt"/>
                <a:ea typeface="+mn-ea"/>
                <a:cs typeface="+mn-cs"/>
              </a:defRPr>
            </a:lvl1pPr>
            <a:lvl2pPr marL="0" marR="0" indent="0" algn="l" defTabSz="914367" rtl="0" eaLnBrk="1" fontAlgn="auto" latinLnBrk="0" hangingPunct="1">
              <a:lnSpc>
                <a:spcPts val="1765"/>
              </a:lnSpc>
              <a:spcBef>
                <a:spcPts val="0"/>
              </a:spcBef>
              <a:spcAft>
                <a:spcPts val="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0121" indent="-280121">
              <a:buFont typeface="Wingdings" panose="05000000000000000000" pitchFamily="2" charset="2"/>
              <a:buChar char="q"/>
            </a:pPr>
            <a:r>
              <a:rPr lang="en-US" sz="1400" dirty="0"/>
              <a:t>Licensed by </a:t>
            </a:r>
            <a:r>
              <a:rPr lang="en-US" sz="1400" b="1" dirty="0">
                <a:solidFill>
                  <a:srgbClr val="0070C0"/>
                </a:solidFill>
              </a:rPr>
              <a:t>users</a:t>
            </a:r>
            <a:r>
              <a:rPr lang="en-US" sz="1400" dirty="0"/>
              <a:t>.</a:t>
            </a:r>
          </a:p>
          <a:p>
            <a:pPr marL="280121" indent="-280121">
              <a:buFont typeface="Wingdings" panose="05000000000000000000" pitchFamily="2" charset="2"/>
              <a:buChar char="q"/>
            </a:pPr>
            <a:r>
              <a:rPr lang="en-US" sz="1400" dirty="0"/>
              <a:t>Free to use.</a:t>
            </a:r>
          </a:p>
          <a:p>
            <a:pPr marL="280121" indent="-280121">
              <a:buFont typeface="Wingdings" panose="05000000000000000000" pitchFamily="2" charset="2"/>
              <a:buChar char="q"/>
            </a:pPr>
            <a:r>
              <a:rPr lang="en-US" sz="1400" dirty="0"/>
              <a:t>A modern development tool for building SQL Server relational databases, Azure SQL Databases, Analysis Services (AS) data models, Integration Services (IS) packages, and Reporting Services (RS) reports.</a:t>
            </a:r>
          </a:p>
        </p:txBody>
      </p:sp>
      <p:sp>
        <p:nvSpPr>
          <p:cNvPr id="3" name="Text Placeholder 2">
            <a:extLst>
              <a:ext uri="{FF2B5EF4-FFF2-40B4-BE49-F238E27FC236}">
                <a16:creationId xmlns:a16="http://schemas.microsoft.com/office/drawing/2014/main" id="{6F698C1D-3126-4D3A-86AE-0BD97A3B00DE}"/>
              </a:ext>
            </a:extLst>
          </p:cNvPr>
          <p:cNvSpPr txBox="1">
            <a:spLocks/>
          </p:cNvSpPr>
          <p:nvPr/>
        </p:nvSpPr>
        <p:spPr>
          <a:xfrm>
            <a:off x="8458432" y="584389"/>
            <a:ext cx="3618381" cy="205056"/>
          </a:xfrm>
          <a:prstGeom prst="rect">
            <a:avLst/>
          </a:prstGeom>
        </p:spPr>
        <p:txBody>
          <a:bodyPr vert="horz" wrap="square" lIns="0" tIns="0" rIns="0" bIns="0" rtlCol="0" anchor="t">
            <a:spAutoFit/>
          </a:bodyPr>
          <a:lstStyle>
            <a:lvl1pPr marL="0" marR="0" indent="0" algn="l" defTabSz="914367"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050" dirty="0">
                <a:solidFill>
                  <a:schemeClr val="bg1">
                    <a:lumMod val="65000"/>
                  </a:schemeClr>
                </a:solidFill>
                <a:latin typeface="+mn-lt"/>
              </a:rPr>
              <a:t>Remark: the content is last updated as of Dec 2020 </a:t>
            </a:r>
            <a:endParaRPr lang="en-US" sz="1000" dirty="0">
              <a:solidFill>
                <a:schemeClr val="bg1">
                  <a:lumMod val="65000"/>
                </a:schemeClr>
              </a:solidFill>
              <a:latin typeface="+mn-lt"/>
            </a:endParaRPr>
          </a:p>
        </p:txBody>
      </p:sp>
    </p:spTree>
    <p:extLst>
      <p:ext uri="{BB962C8B-B14F-4D97-AF65-F5344CB8AC3E}">
        <p14:creationId xmlns:p14="http://schemas.microsoft.com/office/powerpoint/2010/main" val="304943401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a:xfrm>
            <a:off x="616810" y="455844"/>
            <a:ext cx="11655840" cy="899537"/>
          </a:xfrm>
        </p:spPr>
        <p:txBody>
          <a:bodyPr anchor="ctr"/>
          <a:lstStyle/>
          <a:p>
            <a:r>
              <a:rPr lang="en-US" sz="2745" b="1" spc="-49" dirty="0">
                <a:solidFill>
                  <a:srgbClr val="000000"/>
                </a:solidFill>
                <a:latin typeface="Segoe UI Semibold" panose="020B0702040204020203" pitchFamily="34" charset="0"/>
                <a:cs typeface="Segoe UI Semibold" panose="020B0702040204020203" pitchFamily="34" charset="0"/>
              </a:rPr>
              <a:t>Power BI Report Hosting Options</a:t>
            </a:r>
          </a:p>
        </p:txBody>
      </p:sp>
      <p:grpSp>
        <p:nvGrpSpPr>
          <p:cNvPr id="66" name="Group 75"/>
          <p:cNvGrpSpPr>
            <a:grpSpLocks noChangeAspect="1"/>
          </p:cNvGrpSpPr>
          <p:nvPr/>
        </p:nvGrpSpPr>
        <p:grpSpPr bwMode="auto">
          <a:xfrm rot="5400000">
            <a:off x="673034" y="2329677"/>
            <a:ext cx="240689" cy="240172"/>
            <a:chOff x="2742" y="2388"/>
            <a:chExt cx="2326" cy="2321"/>
          </a:xfrm>
          <a:solidFill>
            <a:schemeClr val="tx1"/>
          </a:solidFill>
        </p:grpSpPr>
        <p:sp>
          <p:nvSpPr>
            <p:cNvPr id="67" name="Freeform 76"/>
            <p:cNvSpPr>
              <a:spLocks noEditPoints="1"/>
            </p:cNvSpPr>
            <p:nvPr/>
          </p:nvSpPr>
          <p:spPr bwMode="auto">
            <a:xfrm>
              <a:off x="2742" y="2388"/>
              <a:ext cx="2326" cy="2321"/>
            </a:xfrm>
            <a:custGeom>
              <a:avLst/>
              <a:gdLst>
                <a:gd name="T0" fmla="*/ 493 w 985"/>
                <a:gd name="T1" fmla="*/ 0 h 984"/>
                <a:gd name="T2" fmla="*/ 0 w 985"/>
                <a:gd name="T3" fmla="*/ 492 h 984"/>
                <a:gd name="T4" fmla="*/ 493 w 985"/>
                <a:gd name="T5" fmla="*/ 984 h 984"/>
                <a:gd name="T6" fmla="*/ 985 w 985"/>
                <a:gd name="T7" fmla="*/ 492 h 984"/>
                <a:gd name="T8" fmla="*/ 493 w 985"/>
                <a:gd name="T9" fmla="*/ 0 h 984"/>
                <a:gd name="T10" fmla="*/ 493 w 985"/>
                <a:gd name="T11" fmla="*/ 948 h 984"/>
                <a:gd name="T12" fmla="*/ 36 w 985"/>
                <a:gd name="T13" fmla="*/ 492 h 984"/>
                <a:gd name="T14" fmla="*/ 493 w 985"/>
                <a:gd name="T15" fmla="*/ 36 h 984"/>
                <a:gd name="T16" fmla="*/ 949 w 985"/>
                <a:gd name="T17" fmla="*/ 492 h 984"/>
                <a:gd name="T18" fmla="*/ 493 w 985"/>
                <a:gd name="T19" fmla="*/ 948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5" h="984">
                  <a:moveTo>
                    <a:pt x="493" y="0"/>
                  </a:moveTo>
                  <a:cubicBezTo>
                    <a:pt x="221" y="0"/>
                    <a:pt x="0" y="221"/>
                    <a:pt x="0" y="492"/>
                  </a:cubicBezTo>
                  <a:cubicBezTo>
                    <a:pt x="0" y="763"/>
                    <a:pt x="221" y="984"/>
                    <a:pt x="493" y="984"/>
                  </a:cubicBezTo>
                  <a:cubicBezTo>
                    <a:pt x="764" y="984"/>
                    <a:pt x="985" y="763"/>
                    <a:pt x="985" y="492"/>
                  </a:cubicBezTo>
                  <a:cubicBezTo>
                    <a:pt x="985" y="221"/>
                    <a:pt x="764" y="0"/>
                    <a:pt x="493" y="0"/>
                  </a:cubicBezTo>
                  <a:close/>
                  <a:moveTo>
                    <a:pt x="493" y="948"/>
                  </a:moveTo>
                  <a:cubicBezTo>
                    <a:pt x="241" y="948"/>
                    <a:pt x="36" y="743"/>
                    <a:pt x="36" y="492"/>
                  </a:cubicBezTo>
                  <a:cubicBezTo>
                    <a:pt x="36" y="241"/>
                    <a:pt x="241" y="36"/>
                    <a:pt x="493" y="36"/>
                  </a:cubicBezTo>
                  <a:cubicBezTo>
                    <a:pt x="744" y="36"/>
                    <a:pt x="949" y="241"/>
                    <a:pt x="949" y="492"/>
                  </a:cubicBezTo>
                  <a:cubicBezTo>
                    <a:pt x="949" y="743"/>
                    <a:pt x="744" y="948"/>
                    <a:pt x="493" y="9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0" rIns="91427" bIns="45713" numCol="1" anchor="ctr" anchorCtr="0" compatLnSpc="1">
              <a:prstTxWarp prst="textNoShape">
                <a:avLst/>
              </a:prstTxWarp>
            </a:bodyPr>
            <a:lstStyle/>
            <a:p>
              <a:pPr defTabSz="914367"/>
              <a:endParaRPr lang="en-US">
                <a:solidFill>
                  <a:srgbClr val="353535"/>
                </a:solidFill>
                <a:latin typeface="Segoe UI Semilight"/>
              </a:endParaRPr>
            </a:p>
          </p:txBody>
        </p:sp>
        <p:sp>
          <p:nvSpPr>
            <p:cNvPr id="68" name="Freeform 77"/>
            <p:cNvSpPr>
              <a:spLocks/>
            </p:cNvSpPr>
            <p:nvPr/>
          </p:nvSpPr>
          <p:spPr bwMode="auto">
            <a:xfrm>
              <a:off x="3335" y="2947"/>
              <a:ext cx="1143" cy="1231"/>
            </a:xfrm>
            <a:custGeom>
              <a:avLst/>
              <a:gdLst>
                <a:gd name="T0" fmla="*/ 254 w 484"/>
                <a:gd name="T1" fmla="*/ 4 h 522"/>
                <a:gd name="T2" fmla="*/ 253 w 484"/>
                <a:gd name="T3" fmla="*/ 3 h 522"/>
                <a:gd name="T4" fmla="*/ 251 w 484"/>
                <a:gd name="T5" fmla="*/ 3 h 522"/>
                <a:gd name="T6" fmla="*/ 250 w 484"/>
                <a:gd name="T7" fmla="*/ 2 h 522"/>
                <a:gd name="T8" fmla="*/ 248 w 484"/>
                <a:gd name="T9" fmla="*/ 1 h 522"/>
                <a:gd name="T10" fmla="*/ 246 w 484"/>
                <a:gd name="T11" fmla="*/ 0 h 522"/>
                <a:gd name="T12" fmla="*/ 245 w 484"/>
                <a:gd name="T13" fmla="*/ 0 h 522"/>
                <a:gd name="T14" fmla="*/ 242 w 484"/>
                <a:gd name="T15" fmla="*/ 0 h 522"/>
                <a:gd name="T16" fmla="*/ 242 w 484"/>
                <a:gd name="T17" fmla="*/ 0 h 522"/>
                <a:gd name="T18" fmla="*/ 242 w 484"/>
                <a:gd name="T19" fmla="*/ 0 h 522"/>
                <a:gd name="T20" fmla="*/ 238 w 484"/>
                <a:gd name="T21" fmla="*/ 0 h 522"/>
                <a:gd name="T22" fmla="*/ 237 w 484"/>
                <a:gd name="T23" fmla="*/ 0 h 522"/>
                <a:gd name="T24" fmla="*/ 235 w 484"/>
                <a:gd name="T25" fmla="*/ 1 h 522"/>
                <a:gd name="T26" fmla="*/ 234 w 484"/>
                <a:gd name="T27" fmla="*/ 2 h 522"/>
                <a:gd name="T28" fmla="*/ 232 w 484"/>
                <a:gd name="T29" fmla="*/ 3 h 522"/>
                <a:gd name="T30" fmla="*/ 231 w 484"/>
                <a:gd name="T31" fmla="*/ 3 h 522"/>
                <a:gd name="T32" fmla="*/ 230 w 484"/>
                <a:gd name="T33" fmla="*/ 4 h 522"/>
                <a:gd name="T34" fmla="*/ 8 w 484"/>
                <a:gd name="T35" fmla="*/ 201 h 522"/>
                <a:gd name="T36" fmla="*/ 6 w 484"/>
                <a:gd name="T37" fmla="*/ 226 h 522"/>
                <a:gd name="T38" fmla="*/ 20 w 484"/>
                <a:gd name="T39" fmla="*/ 232 h 522"/>
                <a:gd name="T40" fmla="*/ 31 w 484"/>
                <a:gd name="T41" fmla="*/ 228 h 522"/>
                <a:gd name="T42" fmla="*/ 224 w 484"/>
                <a:gd name="T43" fmla="*/ 58 h 522"/>
                <a:gd name="T44" fmla="*/ 224 w 484"/>
                <a:gd name="T45" fmla="*/ 504 h 522"/>
                <a:gd name="T46" fmla="*/ 242 w 484"/>
                <a:gd name="T47" fmla="*/ 522 h 522"/>
                <a:gd name="T48" fmla="*/ 260 w 484"/>
                <a:gd name="T49" fmla="*/ 504 h 522"/>
                <a:gd name="T50" fmla="*/ 260 w 484"/>
                <a:gd name="T51" fmla="*/ 58 h 522"/>
                <a:gd name="T52" fmla="*/ 452 w 484"/>
                <a:gd name="T53" fmla="*/ 228 h 522"/>
                <a:gd name="T54" fmla="*/ 477 w 484"/>
                <a:gd name="T55" fmla="*/ 226 h 522"/>
                <a:gd name="T56" fmla="*/ 476 w 484"/>
                <a:gd name="T57" fmla="*/ 201 h 522"/>
                <a:gd name="T58" fmla="*/ 254 w 484"/>
                <a:gd name="T59" fmla="*/ 4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4" h="522">
                  <a:moveTo>
                    <a:pt x="254" y="4"/>
                  </a:moveTo>
                  <a:cubicBezTo>
                    <a:pt x="253" y="4"/>
                    <a:pt x="253" y="4"/>
                    <a:pt x="253" y="3"/>
                  </a:cubicBezTo>
                  <a:cubicBezTo>
                    <a:pt x="252" y="3"/>
                    <a:pt x="252" y="3"/>
                    <a:pt x="251" y="3"/>
                  </a:cubicBezTo>
                  <a:cubicBezTo>
                    <a:pt x="251" y="2"/>
                    <a:pt x="250" y="2"/>
                    <a:pt x="250" y="2"/>
                  </a:cubicBezTo>
                  <a:cubicBezTo>
                    <a:pt x="249" y="1"/>
                    <a:pt x="249" y="1"/>
                    <a:pt x="248" y="1"/>
                  </a:cubicBezTo>
                  <a:cubicBezTo>
                    <a:pt x="248" y="1"/>
                    <a:pt x="247" y="1"/>
                    <a:pt x="246" y="0"/>
                  </a:cubicBezTo>
                  <a:cubicBezTo>
                    <a:pt x="246" y="0"/>
                    <a:pt x="246" y="0"/>
                    <a:pt x="245" y="0"/>
                  </a:cubicBezTo>
                  <a:cubicBezTo>
                    <a:pt x="244" y="0"/>
                    <a:pt x="243" y="0"/>
                    <a:pt x="242" y="0"/>
                  </a:cubicBezTo>
                  <a:cubicBezTo>
                    <a:pt x="242" y="0"/>
                    <a:pt x="242" y="0"/>
                    <a:pt x="242" y="0"/>
                  </a:cubicBezTo>
                  <a:cubicBezTo>
                    <a:pt x="242" y="0"/>
                    <a:pt x="242" y="0"/>
                    <a:pt x="242" y="0"/>
                  </a:cubicBezTo>
                  <a:cubicBezTo>
                    <a:pt x="241" y="0"/>
                    <a:pt x="239" y="0"/>
                    <a:pt x="238" y="0"/>
                  </a:cubicBezTo>
                  <a:cubicBezTo>
                    <a:pt x="238" y="0"/>
                    <a:pt x="238" y="0"/>
                    <a:pt x="237" y="0"/>
                  </a:cubicBezTo>
                  <a:cubicBezTo>
                    <a:pt x="236" y="1"/>
                    <a:pt x="236" y="1"/>
                    <a:pt x="235" y="1"/>
                  </a:cubicBezTo>
                  <a:cubicBezTo>
                    <a:pt x="235" y="1"/>
                    <a:pt x="234" y="1"/>
                    <a:pt x="234" y="2"/>
                  </a:cubicBezTo>
                  <a:cubicBezTo>
                    <a:pt x="233" y="2"/>
                    <a:pt x="233" y="2"/>
                    <a:pt x="232" y="3"/>
                  </a:cubicBezTo>
                  <a:cubicBezTo>
                    <a:pt x="232" y="3"/>
                    <a:pt x="231" y="3"/>
                    <a:pt x="231" y="3"/>
                  </a:cubicBezTo>
                  <a:cubicBezTo>
                    <a:pt x="231" y="4"/>
                    <a:pt x="230" y="4"/>
                    <a:pt x="230" y="4"/>
                  </a:cubicBezTo>
                  <a:cubicBezTo>
                    <a:pt x="8" y="201"/>
                    <a:pt x="8" y="201"/>
                    <a:pt x="8" y="201"/>
                  </a:cubicBezTo>
                  <a:cubicBezTo>
                    <a:pt x="0" y="207"/>
                    <a:pt x="0" y="219"/>
                    <a:pt x="6" y="226"/>
                  </a:cubicBezTo>
                  <a:cubicBezTo>
                    <a:pt x="10" y="230"/>
                    <a:pt x="15" y="232"/>
                    <a:pt x="20" y="232"/>
                  </a:cubicBezTo>
                  <a:cubicBezTo>
                    <a:pt x="24" y="232"/>
                    <a:pt x="28" y="231"/>
                    <a:pt x="31" y="228"/>
                  </a:cubicBezTo>
                  <a:cubicBezTo>
                    <a:pt x="224" y="58"/>
                    <a:pt x="224" y="58"/>
                    <a:pt x="224" y="58"/>
                  </a:cubicBezTo>
                  <a:cubicBezTo>
                    <a:pt x="224" y="504"/>
                    <a:pt x="224" y="504"/>
                    <a:pt x="224" y="504"/>
                  </a:cubicBezTo>
                  <a:cubicBezTo>
                    <a:pt x="224" y="514"/>
                    <a:pt x="232" y="522"/>
                    <a:pt x="242" y="522"/>
                  </a:cubicBezTo>
                  <a:cubicBezTo>
                    <a:pt x="252" y="522"/>
                    <a:pt x="260" y="514"/>
                    <a:pt x="260" y="504"/>
                  </a:cubicBezTo>
                  <a:cubicBezTo>
                    <a:pt x="260" y="58"/>
                    <a:pt x="260" y="58"/>
                    <a:pt x="260" y="58"/>
                  </a:cubicBezTo>
                  <a:cubicBezTo>
                    <a:pt x="452" y="228"/>
                    <a:pt x="452" y="228"/>
                    <a:pt x="452" y="228"/>
                  </a:cubicBezTo>
                  <a:cubicBezTo>
                    <a:pt x="460" y="234"/>
                    <a:pt x="471" y="234"/>
                    <a:pt x="477" y="226"/>
                  </a:cubicBezTo>
                  <a:cubicBezTo>
                    <a:pt x="484" y="219"/>
                    <a:pt x="483" y="207"/>
                    <a:pt x="476" y="201"/>
                  </a:cubicBezTo>
                  <a:lnTo>
                    <a:pt x="25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0" rIns="91427" bIns="45713" numCol="1" anchor="ctr" anchorCtr="0" compatLnSpc="1">
              <a:prstTxWarp prst="textNoShape">
                <a:avLst/>
              </a:prstTxWarp>
            </a:bodyPr>
            <a:lstStyle/>
            <a:p>
              <a:pPr defTabSz="914367"/>
              <a:endParaRPr lang="en-US">
                <a:solidFill>
                  <a:srgbClr val="353535"/>
                </a:solidFill>
                <a:latin typeface="Segoe UI Semilight"/>
              </a:endParaRPr>
            </a:p>
          </p:txBody>
        </p:sp>
      </p:grpSp>
      <p:sp>
        <p:nvSpPr>
          <p:cNvPr id="69" name="Freeform: Shape 68"/>
          <p:cNvSpPr>
            <a:spLocks/>
          </p:cNvSpPr>
          <p:nvPr/>
        </p:nvSpPr>
        <p:spPr bwMode="auto">
          <a:xfrm>
            <a:off x="616810" y="2754227"/>
            <a:ext cx="353138" cy="220769"/>
          </a:xfrm>
          <a:custGeom>
            <a:avLst/>
            <a:gdLst>
              <a:gd name="connsiteX0" fmla="*/ 1632469 w 2119312"/>
              <a:gd name="connsiteY0" fmla="*/ 396875 h 1184275"/>
              <a:gd name="connsiteX1" fmla="*/ 1539875 w 2119312"/>
              <a:gd name="connsiteY1" fmla="*/ 491378 h 1184275"/>
              <a:gd name="connsiteX2" fmla="*/ 1539875 w 2119312"/>
              <a:gd name="connsiteY2" fmla="*/ 506413 h 1184275"/>
              <a:gd name="connsiteX3" fmla="*/ 1647542 w 2119312"/>
              <a:gd name="connsiteY3" fmla="*/ 615950 h 1184275"/>
              <a:gd name="connsiteX4" fmla="*/ 1757362 w 2119312"/>
              <a:gd name="connsiteY4" fmla="*/ 506413 h 1184275"/>
              <a:gd name="connsiteX5" fmla="*/ 1647542 w 2119312"/>
              <a:gd name="connsiteY5" fmla="*/ 396875 h 1184275"/>
              <a:gd name="connsiteX6" fmla="*/ 1632469 w 2119312"/>
              <a:gd name="connsiteY6" fmla="*/ 396875 h 1184275"/>
              <a:gd name="connsiteX7" fmla="*/ 1647537 w 2119312"/>
              <a:gd name="connsiteY7" fmla="*/ 344487 h 1184275"/>
              <a:gd name="connsiteX8" fmla="*/ 1809749 w 2119312"/>
              <a:gd name="connsiteY8" fmla="*/ 506412 h 1184275"/>
              <a:gd name="connsiteX9" fmla="*/ 1647537 w 2119312"/>
              <a:gd name="connsiteY9" fmla="*/ 668337 h 1184275"/>
              <a:gd name="connsiteX10" fmla="*/ 1487487 w 2119312"/>
              <a:gd name="connsiteY10" fmla="*/ 506412 h 1184275"/>
              <a:gd name="connsiteX11" fmla="*/ 1493976 w 2119312"/>
              <a:gd name="connsiteY11" fmla="*/ 456755 h 1184275"/>
              <a:gd name="connsiteX12" fmla="*/ 1500464 w 2119312"/>
              <a:gd name="connsiteY12" fmla="*/ 437324 h 1184275"/>
              <a:gd name="connsiteX13" fmla="*/ 1522093 w 2119312"/>
              <a:gd name="connsiteY13" fmla="*/ 439483 h 1184275"/>
              <a:gd name="connsiteX14" fmla="*/ 1526418 w 2119312"/>
              <a:gd name="connsiteY14" fmla="*/ 439483 h 1184275"/>
              <a:gd name="connsiteX15" fmla="*/ 1582652 w 2119312"/>
              <a:gd name="connsiteY15" fmla="*/ 385508 h 1184275"/>
              <a:gd name="connsiteX16" fmla="*/ 1582652 w 2119312"/>
              <a:gd name="connsiteY16" fmla="*/ 379031 h 1184275"/>
              <a:gd name="connsiteX17" fmla="*/ 1580489 w 2119312"/>
              <a:gd name="connsiteY17" fmla="*/ 357441 h 1184275"/>
              <a:gd name="connsiteX18" fmla="*/ 1599955 w 2119312"/>
              <a:gd name="connsiteY18" fmla="*/ 350964 h 1184275"/>
              <a:gd name="connsiteX19" fmla="*/ 1647537 w 2119312"/>
              <a:gd name="connsiteY19" fmla="*/ 344487 h 1184275"/>
              <a:gd name="connsiteX20" fmla="*/ 1647540 w 2119312"/>
              <a:gd name="connsiteY20" fmla="*/ 292100 h 1184275"/>
              <a:gd name="connsiteX21" fmla="*/ 1239837 w 2119312"/>
              <a:gd name="connsiteY21" fmla="*/ 505619 h 1184275"/>
              <a:gd name="connsiteX22" fmla="*/ 1647540 w 2119312"/>
              <a:gd name="connsiteY22" fmla="*/ 719138 h 1184275"/>
              <a:gd name="connsiteX23" fmla="*/ 2057399 w 2119312"/>
              <a:gd name="connsiteY23" fmla="*/ 505619 h 1184275"/>
              <a:gd name="connsiteX24" fmla="*/ 1647540 w 2119312"/>
              <a:gd name="connsiteY24" fmla="*/ 292100 h 1184275"/>
              <a:gd name="connsiteX25" fmla="*/ 1647542 w 2119312"/>
              <a:gd name="connsiteY25" fmla="*/ 241300 h 1184275"/>
              <a:gd name="connsiteX26" fmla="*/ 2108541 w 2119312"/>
              <a:gd name="connsiteY26" fmla="*/ 491325 h 1184275"/>
              <a:gd name="connsiteX27" fmla="*/ 2119312 w 2119312"/>
              <a:gd name="connsiteY27" fmla="*/ 506413 h 1184275"/>
              <a:gd name="connsiteX28" fmla="*/ 2108541 w 2119312"/>
              <a:gd name="connsiteY28" fmla="*/ 519345 h 1184275"/>
              <a:gd name="connsiteX29" fmla="*/ 1647542 w 2119312"/>
              <a:gd name="connsiteY29" fmla="*/ 771525 h 1184275"/>
              <a:gd name="connsiteX30" fmla="*/ 1186542 w 2119312"/>
              <a:gd name="connsiteY30" fmla="*/ 519345 h 1184275"/>
              <a:gd name="connsiteX31" fmla="*/ 1177925 w 2119312"/>
              <a:gd name="connsiteY31" fmla="*/ 506413 h 1184275"/>
              <a:gd name="connsiteX32" fmla="*/ 1186542 w 2119312"/>
              <a:gd name="connsiteY32" fmla="*/ 491325 h 1184275"/>
              <a:gd name="connsiteX33" fmla="*/ 1647542 w 2119312"/>
              <a:gd name="connsiteY33" fmla="*/ 241300 h 1184275"/>
              <a:gd name="connsiteX34" fmla="*/ 1138237 w 2119312"/>
              <a:gd name="connsiteY34" fmla="*/ 230187 h 1184275"/>
              <a:gd name="connsiteX35" fmla="*/ 1157287 w 2119312"/>
              <a:gd name="connsiteY35" fmla="*/ 271462 h 1184275"/>
              <a:gd name="connsiteX36" fmla="*/ 890587 w 2119312"/>
              <a:gd name="connsiteY36" fmla="*/ 390525 h 1184275"/>
              <a:gd name="connsiteX37" fmla="*/ 754062 w 2119312"/>
              <a:gd name="connsiteY37" fmla="*/ 604837 h 1184275"/>
              <a:gd name="connsiteX38" fmla="*/ 601662 w 2119312"/>
              <a:gd name="connsiteY38" fmla="*/ 520700 h 1184275"/>
              <a:gd name="connsiteX39" fmla="*/ 558800 w 2119312"/>
              <a:gd name="connsiteY39" fmla="*/ 666750 h 1184275"/>
              <a:gd name="connsiteX40" fmla="*/ 439737 w 2119312"/>
              <a:gd name="connsiteY40" fmla="*/ 612775 h 1184275"/>
              <a:gd name="connsiteX41" fmla="*/ 350837 w 2119312"/>
              <a:gd name="connsiteY41" fmla="*/ 692150 h 1184275"/>
              <a:gd name="connsiteX42" fmla="*/ 319087 w 2119312"/>
              <a:gd name="connsiteY42" fmla="*/ 661988 h 1184275"/>
              <a:gd name="connsiteX43" fmla="*/ 428625 w 2119312"/>
              <a:gd name="connsiteY43" fmla="*/ 558800 h 1184275"/>
              <a:gd name="connsiteX44" fmla="*/ 528637 w 2119312"/>
              <a:gd name="connsiteY44" fmla="*/ 601662 h 1184275"/>
              <a:gd name="connsiteX45" fmla="*/ 573087 w 2119312"/>
              <a:gd name="connsiteY45" fmla="*/ 452437 h 1184275"/>
              <a:gd name="connsiteX46" fmla="*/ 736600 w 2119312"/>
              <a:gd name="connsiteY46" fmla="*/ 544512 h 1184275"/>
              <a:gd name="connsiteX47" fmla="*/ 857250 w 2119312"/>
              <a:gd name="connsiteY47" fmla="*/ 352425 h 1184275"/>
              <a:gd name="connsiteX48" fmla="*/ 255587 w 2119312"/>
              <a:gd name="connsiteY48" fmla="*/ 115887 h 1184275"/>
              <a:gd name="connsiteX49" fmla="*/ 309562 w 2119312"/>
              <a:gd name="connsiteY49" fmla="*/ 207962 h 1184275"/>
              <a:gd name="connsiteX50" fmla="*/ 277812 w 2119312"/>
              <a:gd name="connsiteY50" fmla="*/ 207962 h 1184275"/>
              <a:gd name="connsiteX51" fmla="*/ 277812 w 2119312"/>
              <a:gd name="connsiteY51" fmla="*/ 760412 h 1184275"/>
              <a:gd name="connsiteX52" fmla="*/ 1238249 w 2119312"/>
              <a:gd name="connsiteY52" fmla="*/ 760412 h 1184275"/>
              <a:gd name="connsiteX53" fmla="*/ 1238249 w 2119312"/>
              <a:gd name="connsiteY53" fmla="*/ 728662 h 1184275"/>
              <a:gd name="connsiteX54" fmla="*/ 1330324 w 2119312"/>
              <a:gd name="connsiteY54" fmla="*/ 782637 h 1184275"/>
              <a:gd name="connsiteX55" fmla="*/ 1238249 w 2119312"/>
              <a:gd name="connsiteY55" fmla="*/ 836612 h 1184275"/>
              <a:gd name="connsiteX56" fmla="*/ 1238249 w 2119312"/>
              <a:gd name="connsiteY56" fmla="*/ 806450 h 1184275"/>
              <a:gd name="connsiteX57" fmla="*/ 231775 w 2119312"/>
              <a:gd name="connsiteY57" fmla="*/ 806450 h 1184275"/>
              <a:gd name="connsiteX58" fmla="*/ 231775 w 2119312"/>
              <a:gd name="connsiteY58" fmla="*/ 207962 h 1184275"/>
              <a:gd name="connsiteX59" fmla="*/ 201612 w 2119312"/>
              <a:gd name="connsiteY59" fmla="*/ 207962 h 1184275"/>
              <a:gd name="connsiteX60" fmla="*/ 153026 w 2119312"/>
              <a:gd name="connsiteY60" fmla="*/ 0 h 1184275"/>
              <a:gd name="connsiteX61" fmla="*/ 1325505 w 2119312"/>
              <a:gd name="connsiteY61" fmla="*/ 0 h 1184275"/>
              <a:gd name="connsiteX62" fmla="*/ 1476375 w 2119312"/>
              <a:gd name="connsiteY62" fmla="*/ 151001 h 1184275"/>
              <a:gd name="connsiteX63" fmla="*/ 1476375 w 2119312"/>
              <a:gd name="connsiteY63" fmla="*/ 209244 h 1184275"/>
              <a:gd name="connsiteX64" fmla="*/ 1428959 w 2119312"/>
              <a:gd name="connsiteY64" fmla="*/ 230815 h 1184275"/>
              <a:gd name="connsiteX65" fmla="*/ 1428959 w 2119312"/>
              <a:gd name="connsiteY65" fmla="*/ 151001 h 1184275"/>
              <a:gd name="connsiteX66" fmla="*/ 1325505 w 2119312"/>
              <a:gd name="connsiteY66" fmla="*/ 47457 h 1184275"/>
              <a:gd name="connsiteX67" fmla="*/ 153026 w 2119312"/>
              <a:gd name="connsiteY67" fmla="*/ 47457 h 1184275"/>
              <a:gd name="connsiteX68" fmla="*/ 47417 w 2119312"/>
              <a:gd name="connsiteY68" fmla="*/ 151001 h 1184275"/>
              <a:gd name="connsiteX69" fmla="*/ 47417 w 2119312"/>
              <a:gd name="connsiteY69" fmla="*/ 867174 h 1184275"/>
              <a:gd name="connsiteX70" fmla="*/ 153026 w 2119312"/>
              <a:gd name="connsiteY70" fmla="*/ 970717 h 1184275"/>
              <a:gd name="connsiteX71" fmla="*/ 644433 w 2119312"/>
              <a:gd name="connsiteY71" fmla="*/ 970717 h 1184275"/>
              <a:gd name="connsiteX72" fmla="*/ 644433 w 2119312"/>
              <a:gd name="connsiteY72" fmla="*/ 1100146 h 1184275"/>
              <a:gd name="connsiteX73" fmla="*/ 450456 w 2119312"/>
              <a:gd name="connsiteY73" fmla="*/ 1100146 h 1184275"/>
              <a:gd name="connsiteX74" fmla="*/ 409506 w 2119312"/>
              <a:gd name="connsiteY74" fmla="*/ 1138975 h 1184275"/>
              <a:gd name="connsiteX75" fmla="*/ 1066870 w 2119312"/>
              <a:gd name="connsiteY75" fmla="*/ 1138975 h 1184275"/>
              <a:gd name="connsiteX76" fmla="*/ 1025919 w 2119312"/>
              <a:gd name="connsiteY76" fmla="*/ 1100146 h 1184275"/>
              <a:gd name="connsiteX77" fmla="*/ 831943 w 2119312"/>
              <a:gd name="connsiteY77" fmla="*/ 1100146 h 1184275"/>
              <a:gd name="connsiteX78" fmla="*/ 831943 w 2119312"/>
              <a:gd name="connsiteY78" fmla="*/ 970717 h 1184275"/>
              <a:gd name="connsiteX79" fmla="*/ 1325505 w 2119312"/>
              <a:gd name="connsiteY79" fmla="*/ 970717 h 1184275"/>
              <a:gd name="connsiteX80" fmla="*/ 1428959 w 2119312"/>
              <a:gd name="connsiteY80" fmla="*/ 867174 h 1184275"/>
              <a:gd name="connsiteX81" fmla="*/ 1428959 w 2119312"/>
              <a:gd name="connsiteY81" fmla="*/ 776574 h 1184275"/>
              <a:gd name="connsiteX82" fmla="*/ 1476375 w 2119312"/>
              <a:gd name="connsiteY82" fmla="*/ 798145 h 1184275"/>
              <a:gd name="connsiteX83" fmla="*/ 1476375 w 2119312"/>
              <a:gd name="connsiteY83" fmla="*/ 865017 h 1184275"/>
              <a:gd name="connsiteX84" fmla="*/ 1325505 w 2119312"/>
              <a:gd name="connsiteY84" fmla="*/ 1016017 h 1184275"/>
              <a:gd name="connsiteX85" fmla="*/ 879359 w 2119312"/>
              <a:gd name="connsiteY85" fmla="*/ 1016017 h 1184275"/>
              <a:gd name="connsiteX86" fmla="*/ 879359 w 2119312"/>
              <a:gd name="connsiteY86" fmla="*/ 1054846 h 1184275"/>
              <a:gd name="connsiteX87" fmla="*/ 1025919 w 2119312"/>
              <a:gd name="connsiteY87" fmla="*/ 1054846 h 1184275"/>
              <a:gd name="connsiteX88" fmla="*/ 1112131 w 2119312"/>
              <a:gd name="connsiteY88" fmla="*/ 1141132 h 1184275"/>
              <a:gd name="connsiteX89" fmla="*/ 1112131 w 2119312"/>
              <a:gd name="connsiteY89" fmla="*/ 1184275 h 1184275"/>
              <a:gd name="connsiteX90" fmla="*/ 364245 w 2119312"/>
              <a:gd name="connsiteY90" fmla="*/ 1184275 h 1184275"/>
              <a:gd name="connsiteX91" fmla="*/ 364245 w 2119312"/>
              <a:gd name="connsiteY91" fmla="*/ 1141132 h 1184275"/>
              <a:gd name="connsiteX92" fmla="*/ 450456 w 2119312"/>
              <a:gd name="connsiteY92" fmla="*/ 1054846 h 1184275"/>
              <a:gd name="connsiteX93" fmla="*/ 597016 w 2119312"/>
              <a:gd name="connsiteY93" fmla="*/ 1054846 h 1184275"/>
              <a:gd name="connsiteX94" fmla="*/ 597016 w 2119312"/>
              <a:gd name="connsiteY94" fmla="*/ 1016017 h 1184275"/>
              <a:gd name="connsiteX95" fmla="*/ 153026 w 2119312"/>
              <a:gd name="connsiteY95" fmla="*/ 1016017 h 1184275"/>
              <a:gd name="connsiteX96" fmla="*/ 0 w 2119312"/>
              <a:gd name="connsiteY96" fmla="*/ 865017 h 1184275"/>
              <a:gd name="connsiteX97" fmla="*/ 0 w 2119312"/>
              <a:gd name="connsiteY97" fmla="*/ 151001 h 1184275"/>
              <a:gd name="connsiteX98" fmla="*/ 153026 w 2119312"/>
              <a:gd name="connsiteY98" fmla="*/ 0 h 118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2119312" h="1184275">
                <a:moveTo>
                  <a:pt x="1632469" y="396875"/>
                </a:moveTo>
                <a:cubicBezTo>
                  <a:pt x="1628162" y="446274"/>
                  <a:pt x="1589402" y="484935"/>
                  <a:pt x="1539875" y="491378"/>
                </a:cubicBezTo>
                <a:cubicBezTo>
                  <a:pt x="1539875" y="495674"/>
                  <a:pt x="1539875" y="499969"/>
                  <a:pt x="1539875" y="506413"/>
                </a:cubicBezTo>
                <a:cubicBezTo>
                  <a:pt x="1539875" y="566551"/>
                  <a:pt x="1587249" y="615950"/>
                  <a:pt x="1647542" y="615950"/>
                </a:cubicBezTo>
                <a:cubicBezTo>
                  <a:pt x="1707835" y="615950"/>
                  <a:pt x="1757362" y="566551"/>
                  <a:pt x="1757362" y="506413"/>
                </a:cubicBezTo>
                <a:cubicBezTo>
                  <a:pt x="1757362" y="446274"/>
                  <a:pt x="1707835" y="396875"/>
                  <a:pt x="1647542" y="396875"/>
                </a:cubicBezTo>
                <a:cubicBezTo>
                  <a:pt x="1643235" y="396875"/>
                  <a:pt x="1638929" y="396875"/>
                  <a:pt x="1632469" y="396875"/>
                </a:cubicBezTo>
                <a:close/>
                <a:moveTo>
                  <a:pt x="1647537" y="344487"/>
                </a:moveTo>
                <a:cubicBezTo>
                  <a:pt x="1738376" y="344487"/>
                  <a:pt x="1809749" y="417893"/>
                  <a:pt x="1809749" y="506412"/>
                </a:cubicBezTo>
                <a:cubicBezTo>
                  <a:pt x="1809749" y="594931"/>
                  <a:pt x="1738376" y="668337"/>
                  <a:pt x="1647537" y="668337"/>
                </a:cubicBezTo>
                <a:cubicBezTo>
                  <a:pt x="1558861" y="668337"/>
                  <a:pt x="1487487" y="594931"/>
                  <a:pt x="1487487" y="506412"/>
                </a:cubicBezTo>
                <a:cubicBezTo>
                  <a:pt x="1487487" y="489140"/>
                  <a:pt x="1489650" y="474027"/>
                  <a:pt x="1493976" y="456755"/>
                </a:cubicBezTo>
                <a:cubicBezTo>
                  <a:pt x="1500464" y="437324"/>
                  <a:pt x="1500464" y="437324"/>
                  <a:pt x="1500464" y="437324"/>
                </a:cubicBezTo>
                <a:cubicBezTo>
                  <a:pt x="1522093" y="439483"/>
                  <a:pt x="1522093" y="439483"/>
                  <a:pt x="1522093" y="439483"/>
                </a:cubicBezTo>
                <a:cubicBezTo>
                  <a:pt x="1524255" y="439483"/>
                  <a:pt x="1526418" y="439483"/>
                  <a:pt x="1526418" y="439483"/>
                </a:cubicBezTo>
                <a:cubicBezTo>
                  <a:pt x="1556698" y="439483"/>
                  <a:pt x="1582652" y="415734"/>
                  <a:pt x="1582652" y="385508"/>
                </a:cubicBezTo>
                <a:cubicBezTo>
                  <a:pt x="1582652" y="383349"/>
                  <a:pt x="1582652" y="381190"/>
                  <a:pt x="1582652" y="379031"/>
                </a:cubicBezTo>
                <a:cubicBezTo>
                  <a:pt x="1580489" y="357441"/>
                  <a:pt x="1580489" y="357441"/>
                  <a:pt x="1580489" y="357441"/>
                </a:cubicBezTo>
                <a:cubicBezTo>
                  <a:pt x="1599955" y="350964"/>
                  <a:pt x="1599955" y="350964"/>
                  <a:pt x="1599955" y="350964"/>
                </a:cubicBezTo>
                <a:cubicBezTo>
                  <a:pt x="1615094" y="346646"/>
                  <a:pt x="1632397" y="344487"/>
                  <a:pt x="1647537" y="344487"/>
                </a:cubicBezTo>
                <a:close/>
                <a:moveTo>
                  <a:pt x="1647540" y="292100"/>
                </a:moveTo>
                <a:cubicBezTo>
                  <a:pt x="1485753" y="292100"/>
                  <a:pt x="1332595" y="371900"/>
                  <a:pt x="1239837" y="505619"/>
                </a:cubicBezTo>
                <a:cubicBezTo>
                  <a:pt x="1332595" y="639338"/>
                  <a:pt x="1485753" y="719138"/>
                  <a:pt x="1647540" y="719138"/>
                </a:cubicBezTo>
                <a:cubicBezTo>
                  <a:pt x="1811483" y="719138"/>
                  <a:pt x="1962484" y="639338"/>
                  <a:pt x="2057399" y="505619"/>
                </a:cubicBezTo>
                <a:cubicBezTo>
                  <a:pt x="1962484" y="371900"/>
                  <a:pt x="1811483" y="292100"/>
                  <a:pt x="1647540" y="292100"/>
                </a:cubicBezTo>
                <a:close/>
                <a:moveTo>
                  <a:pt x="1647542" y="241300"/>
                </a:moveTo>
                <a:cubicBezTo>
                  <a:pt x="1834957" y="241300"/>
                  <a:pt x="2007294" y="333982"/>
                  <a:pt x="2108541" y="491325"/>
                </a:cubicBezTo>
                <a:cubicBezTo>
                  <a:pt x="2119312" y="506413"/>
                  <a:pt x="2119312" y="506413"/>
                  <a:pt x="2119312" y="506413"/>
                </a:cubicBezTo>
                <a:cubicBezTo>
                  <a:pt x="2108541" y="519345"/>
                  <a:pt x="2108541" y="519345"/>
                  <a:pt x="2108541" y="519345"/>
                </a:cubicBezTo>
                <a:cubicBezTo>
                  <a:pt x="2007294" y="676688"/>
                  <a:pt x="1834957" y="771525"/>
                  <a:pt x="1647542" y="771525"/>
                </a:cubicBezTo>
                <a:cubicBezTo>
                  <a:pt x="1462280" y="771525"/>
                  <a:pt x="1289944" y="676688"/>
                  <a:pt x="1186542" y="519345"/>
                </a:cubicBezTo>
                <a:cubicBezTo>
                  <a:pt x="1177925" y="506413"/>
                  <a:pt x="1177925" y="506413"/>
                  <a:pt x="1177925" y="506413"/>
                </a:cubicBezTo>
                <a:cubicBezTo>
                  <a:pt x="1186542" y="491325"/>
                  <a:pt x="1186542" y="491325"/>
                  <a:pt x="1186542" y="491325"/>
                </a:cubicBezTo>
                <a:cubicBezTo>
                  <a:pt x="1289944" y="333982"/>
                  <a:pt x="1462280" y="241300"/>
                  <a:pt x="1647542" y="241300"/>
                </a:cubicBezTo>
                <a:close/>
                <a:moveTo>
                  <a:pt x="1138237" y="230187"/>
                </a:moveTo>
                <a:lnTo>
                  <a:pt x="1157287" y="271462"/>
                </a:lnTo>
                <a:lnTo>
                  <a:pt x="890587" y="390525"/>
                </a:lnTo>
                <a:lnTo>
                  <a:pt x="754062" y="604837"/>
                </a:lnTo>
                <a:lnTo>
                  <a:pt x="601662" y="520700"/>
                </a:lnTo>
                <a:lnTo>
                  <a:pt x="558800" y="666750"/>
                </a:lnTo>
                <a:lnTo>
                  <a:pt x="439737" y="612775"/>
                </a:lnTo>
                <a:lnTo>
                  <a:pt x="350837" y="692150"/>
                </a:lnTo>
                <a:lnTo>
                  <a:pt x="319087" y="661988"/>
                </a:lnTo>
                <a:lnTo>
                  <a:pt x="428625" y="558800"/>
                </a:lnTo>
                <a:lnTo>
                  <a:pt x="528637" y="601662"/>
                </a:lnTo>
                <a:lnTo>
                  <a:pt x="573087" y="452437"/>
                </a:lnTo>
                <a:lnTo>
                  <a:pt x="736600" y="544512"/>
                </a:lnTo>
                <a:lnTo>
                  <a:pt x="857250" y="352425"/>
                </a:lnTo>
                <a:close/>
                <a:moveTo>
                  <a:pt x="255587" y="115887"/>
                </a:moveTo>
                <a:lnTo>
                  <a:pt x="309562" y="207962"/>
                </a:lnTo>
                <a:lnTo>
                  <a:pt x="277812" y="207962"/>
                </a:lnTo>
                <a:lnTo>
                  <a:pt x="277812" y="760412"/>
                </a:lnTo>
                <a:lnTo>
                  <a:pt x="1238249" y="760412"/>
                </a:lnTo>
                <a:lnTo>
                  <a:pt x="1238249" y="728662"/>
                </a:lnTo>
                <a:lnTo>
                  <a:pt x="1330324" y="782637"/>
                </a:lnTo>
                <a:lnTo>
                  <a:pt x="1238249" y="836612"/>
                </a:lnTo>
                <a:lnTo>
                  <a:pt x="1238249" y="806450"/>
                </a:lnTo>
                <a:lnTo>
                  <a:pt x="231775" y="806450"/>
                </a:lnTo>
                <a:lnTo>
                  <a:pt x="231775" y="207962"/>
                </a:lnTo>
                <a:lnTo>
                  <a:pt x="201612" y="207962"/>
                </a:lnTo>
                <a:close/>
                <a:moveTo>
                  <a:pt x="153026" y="0"/>
                </a:moveTo>
                <a:cubicBezTo>
                  <a:pt x="1325505" y="0"/>
                  <a:pt x="1325505" y="0"/>
                  <a:pt x="1325505" y="0"/>
                </a:cubicBezTo>
                <a:cubicBezTo>
                  <a:pt x="1407406" y="0"/>
                  <a:pt x="1476375" y="66872"/>
                  <a:pt x="1476375" y="151001"/>
                </a:cubicBezTo>
                <a:cubicBezTo>
                  <a:pt x="1476375" y="170415"/>
                  <a:pt x="1476375" y="189829"/>
                  <a:pt x="1476375" y="209244"/>
                </a:cubicBezTo>
                <a:cubicBezTo>
                  <a:pt x="1459133" y="217872"/>
                  <a:pt x="1444046" y="224344"/>
                  <a:pt x="1428959" y="230815"/>
                </a:cubicBezTo>
                <a:cubicBezTo>
                  <a:pt x="1428959" y="151001"/>
                  <a:pt x="1428959" y="151001"/>
                  <a:pt x="1428959" y="151001"/>
                </a:cubicBezTo>
                <a:cubicBezTo>
                  <a:pt x="1428959" y="92757"/>
                  <a:pt x="1381542" y="47457"/>
                  <a:pt x="1325505" y="47457"/>
                </a:cubicBezTo>
                <a:cubicBezTo>
                  <a:pt x="153026" y="47457"/>
                  <a:pt x="153026" y="47457"/>
                  <a:pt x="153026" y="47457"/>
                </a:cubicBezTo>
                <a:cubicBezTo>
                  <a:pt x="94833" y="47457"/>
                  <a:pt x="47417" y="92757"/>
                  <a:pt x="47417" y="151001"/>
                </a:cubicBezTo>
                <a:cubicBezTo>
                  <a:pt x="47417" y="867174"/>
                  <a:pt x="47417" y="867174"/>
                  <a:pt x="47417" y="867174"/>
                </a:cubicBezTo>
                <a:cubicBezTo>
                  <a:pt x="47417" y="923260"/>
                  <a:pt x="94833" y="970717"/>
                  <a:pt x="153026" y="970717"/>
                </a:cubicBezTo>
                <a:cubicBezTo>
                  <a:pt x="644433" y="970717"/>
                  <a:pt x="644433" y="970717"/>
                  <a:pt x="644433" y="970717"/>
                </a:cubicBezTo>
                <a:cubicBezTo>
                  <a:pt x="644433" y="1100146"/>
                  <a:pt x="644433" y="1100146"/>
                  <a:pt x="644433" y="1100146"/>
                </a:cubicBezTo>
                <a:cubicBezTo>
                  <a:pt x="450456" y="1100146"/>
                  <a:pt x="450456" y="1100146"/>
                  <a:pt x="450456" y="1100146"/>
                </a:cubicBezTo>
                <a:cubicBezTo>
                  <a:pt x="428903" y="1100146"/>
                  <a:pt x="411661" y="1117403"/>
                  <a:pt x="409506" y="1138975"/>
                </a:cubicBezTo>
                <a:cubicBezTo>
                  <a:pt x="1066870" y="1138975"/>
                  <a:pt x="1066870" y="1138975"/>
                  <a:pt x="1066870" y="1138975"/>
                </a:cubicBezTo>
                <a:cubicBezTo>
                  <a:pt x="1064714" y="1117403"/>
                  <a:pt x="1047472" y="1100146"/>
                  <a:pt x="1025919" y="1100146"/>
                </a:cubicBezTo>
                <a:cubicBezTo>
                  <a:pt x="831943" y="1100146"/>
                  <a:pt x="831943" y="1100146"/>
                  <a:pt x="831943" y="1100146"/>
                </a:cubicBezTo>
                <a:cubicBezTo>
                  <a:pt x="831943" y="970717"/>
                  <a:pt x="831943" y="970717"/>
                  <a:pt x="831943" y="970717"/>
                </a:cubicBezTo>
                <a:cubicBezTo>
                  <a:pt x="1325505" y="970717"/>
                  <a:pt x="1325505" y="970717"/>
                  <a:pt x="1325505" y="970717"/>
                </a:cubicBezTo>
                <a:cubicBezTo>
                  <a:pt x="1381542" y="970717"/>
                  <a:pt x="1428959" y="923260"/>
                  <a:pt x="1428959" y="867174"/>
                </a:cubicBezTo>
                <a:cubicBezTo>
                  <a:pt x="1428959" y="834817"/>
                  <a:pt x="1428959" y="804617"/>
                  <a:pt x="1428959" y="776574"/>
                </a:cubicBezTo>
                <a:cubicBezTo>
                  <a:pt x="1444046" y="783045"/>
                  <a:pt x="1461288" y="791674"/>
                  <a:pt x="1476375" y="798145"/>
                </a:cubicBezTo>
                <a:cubicBezTo>
                  <a:pt x="1476375" y="865017"/>
                  <a:pt x="1476375" y="865017"/>
                  <a:pt x="1476375" y="865017"/>
                </a:cubicBezTo>
                <a:cubicBezTo>
                  <a:pt x="1476375" y="949146"/>
                  <a:pt x="1407406" y="1016017"/>
                  <a:pt x="1325505" y="1016017"/>
                </a:cubicBezTo>
                <a:cubicBezTo>
                  <a:pt x="879359" y="1016017"/>
                  <a:pt x="879359" y="1016017"/>
                  <a:pt x="879359" y="1016017"/>
                </a:cubicBezTo>
                <a:cubicBezTo>
                  <a:pt x="879359" y="1054846"/>
                  <a:pt x="879359" y="1054846"/>
                  <a:pt x="879359" y="1054846"/>
                </a:cubicBezTo>
                <a:cubicBezTo>
                  <a:pt x="1025919" y="1054846"/>
                  <a:pt x="1025919" y="1054846"/>
                  <a:pt x="1025919" y="1054846"/>
                </a:cubicBezTo>
                <a:cubicBezTo>
                  <a:pt x="1073336" y="1054846"/>
                  <a:pt x="1112131" y="1093675"/>
                  <a:pt x="1112131" y="1141132"/>
                </a:cubicBezTo>
                <a:cubicBezTo>
                  <a:pt x="1112131" y="1141132"/>
                  <a:pt x="1112131" y="1141132"/>
                  <a:pt x="1112131" y="1184275"/>
                </a:cubicBezTo>
                <a:cubicBezTo>
                  <a:pt x="364245" y="1184275"/>
                  <a:pt x="364245" y="1184275"/>
                  <a:pt x="364245" y="1184275"/>
                </a:cubicBezTo>
                <a:cubicBezTo>
                  <a:pt x="364245" y="1141132"/>
                  <a:pt x="364245" y="1141132"/>
                  <a:pt x="364245" y="1141132"/>
                </a:cubicBezTo>
                <a:cubicBezTo>
                  <a:pt x="364245" y="1093675"/>
                  <a:pt x="403040" y="1054846"/>
                  <a:pt x="450456" y="1054846"/>
                </a:cubicBezTo>
                <a:cubicBezTo>
                  <a:pt x="597016" y="1054846"/>
                  <a:pt x="597016" y="1054846"/>
                  <a:pt x="597016" y="1054846"/>
                </a:cubicBezTo>
                <a:cubicBezTo>
                  <a:pt x="597016" y="1016017"/>
                  <a:pt x="597016" y="1016017"/>
                  <a:pt x="597016" y="1016017"/>
                </a:cubicBezTo>
                <a:cubicBezTo>
                  <a:pt x="153026" y="1016017"/>
                  <a:pt x="153026" y="1016017"/>
                  <a:pt x="153026" y="1016017"/>
                </a:cubicBezTo>
                <a:cubicBezTo>
                  <a:pt x="68970" y="1016017"/>
                  <a:pt x="0" y="949146"/>
                  <a:pt x="0" y="865017"/>
                </a:cubicBezTo>
                <a:cubicBezTo>
                  <a:pt x="0" y="151001"/>
                  <a:pt x="0" y="151001"/>
                  <a:pt x="0" y="151001"/>
                </a:cubicBezTo>
                <a:cubicBezTo>
                  <a:pt x="0" y="66872"/>
                  <a:pt x="68970" y="0"/>
                  <a:pt x="153026" y="0"/>
                </a:cubicBezTo>
                <a:close/>
              </a:path>
            </a:pathLst>
          </a:custGeom>
          <a:solidFill>
            <a:schemeClr val="tx1"/>
          </a:solidFill>
          <a:ln>
            <a:noFill/>
          </a:ln>
        </p:spPr>
        <p:txBody>
          <a:bodyPr vert="horz" wrap="square" lIns="91427" tIns="45713" rIns="91427" bIns="45713" numCol="1" anchor="t" anchorCtr="0" compatLnSpc="1">
            <a:prstTxWarp prst="textNoShape">
              <a:avLst/>
            </a:prstTxWarp>
            <a:noAutofit/>
          </a:bodyPr>
          <a:lstStyle/>
          <a:p>
            <a:pPr defTabSz="914367"/>
            <a:endParaRPr lang="en-US">
              <a:solidFill>
                <a:srgbClr val="353535"/>
              </a:solidFill>
              <a:latin typeface="Segoe UI Semilight"/>
            </a:endParaRPr>
          </a:p>
        </p:txBody>
      </p:sp>
      <p:sp>
        <p:nvSpPr>
          <p:cNvPr id="75" name="Freeform 60"/>
          <p:cNvSpPr>
            <a:spLocks noChangeAspect="1"/>
          </p:cNvSpPr>
          <p:nvPr/>
        </p:nvSpPr>
        <p:spPr bwMode="auto">
          <a:xfrm>
            <a:off x="686708" y="4877710"/>
            <a:ext cx="213340" cy="286007"/>
          </a:xfrm>
          <a:custGeom>
            <a:avLst/>
            <a:gdLst>
              <a:gd name="connsiteX0" fmla="*/ 1582005 w 2470151"/>
              <a:gd name="connsiteY0" fmla="*/ 2540000 h 3311525"/>
              <a:gd name="connsiteX1" fmla="*/ 1582005 w 2470151"/>
              <a:gd name="connsiteY1" fmla="*/ 2595049 h 3311525"/>
              <a:gd name="connsiteX2" fmla="*/ 1582005 w 2470151"/>
              <a:gd name="connsiteY2" fmla="*/ 2715234 h 3311525"/>
              <a:gd name="connsiteX3" fmla="*/ 1970820 w 2470151"/>
              <a:gd name="connsiteY3" fmla="*/ 2715234 h 3311525"/>
              <a:gd name="connsiteX4" fmla="*/ 1970820 w 2470151"/>
              <a:gd name="connsiteY4" fmla="*/ 2540000 h 3311525"/>
              <a:gd name="connsiteX5" fmla="*/ 1892570 w 2470151"/>
              <a:gd name="connsiteY5" fmla="*/ 2540000 h 3311525"/>
              <a:gd name="connsiteX6" fmla="*/ 1640443 w 2470151"/>
              <a:gd name="connsiteY6" fmla="*/ 2540000 h 3311525"/>
              <a:gd name="connsiteX7" fmla="*/ 1582005 w 2470151"/>
              <a:gd name="connsiteY7" fmla="*/ 2241551 h 3311525"/>
              <a:gd name="connsiteX8" fmla="*/ 1582005 w 2470151"/>
              <a:gd name="connsiteY8" fmla="*/ 2248858 h 3311525"/>
              <a:gd name="connsiteX9" fmla="*/ 1582005 w 2470151"/>
              <a:gd name="connsiteY9" fmla="*/ 2364839 h 3311525"/>
              <a:gd name="connsiteX10" fmla="*/ 1582005 w 2470151"/>
              <a:gd name="connsiteY10" fmla="*/ 2417763 h 3311525"/>
              <a:gd name="connsiteX11" fmla="*/ 1970820 w 2470151"/>
              <a:gd name="connsiteY11" fmla="*/ 2417763 h 3311525"/>
              <a:gd name="connsiteX12" fmla="*/ 1970820 w 2470151"/>
              <a:gd name="connsiteY12" fmla="*/ 2336849 h 3311525"/>
              <a:gd name="connsiteX13" fmla="*/ 1970820 w 2470151"/>
              <a:gd name="connsiteY13" fmla="*/ 2241551 h 3311525"/>
              <a:gd name="connsiteX14" fmla="*/ 1892569 w 2470151"/>
              <a:gd name="connsiteY14" fmla="*/ 2241551 h 3311525"/>
              <a:gd name="connsiteX15" fmla="*/ 1666396 w 2470151"/>
              <a:gd name="connsiteY15" fmla="*/ 2241551 h 3311525"/>
              <a:gd name="connsiteX16" fmla="*/ 1071563 w 2470151"/>
              <a:gd name="connsiteY16" fmla="*/ 2241551 h 3311525"/>
              <a:gd name="connsiteX17" fmla="*/ 1071563 w 2470151"/>
              <a:gd name="connsiteY17" fmla="*/ 2265725 h 3311525"/>
              <a:gd name="connsiteX18" fmla="*/ 1071563 w 2470151"/>
              <a:gd name="connsiteY18" fmla="*/ 2415902 h 3311525"/>
              <a:gd name="connsiteX19" fmla="*/ 1071563 w 2470151"/>
              <a:gd name="connsiteY19" fmla="*/ 2417763 h 3311525"/>
              <a:gd name="connsiteX20" fmla="*/ 1460500 w 2470151"/>
              <a:gd name="connsiteY20" fmla="*/ 2417763 h 3311525"/>
              <a:gd name="connsiteX21" fmla="*/ 1460500 w 2470151"/>
              <a:gd name="connsiteY21" fmla="*/ 2282241 h 3311525"/>
              <a:gd name="connsiteX22" fmla="*/ 1460500 w 2470151"/>
              <a:gd name="connsiteY22" fmla="*/ 2241551 h 3311525"/>
              <a:gd name="connsiteX23" fmla="*/ 1290351 w 2470151"/>
              <a:gd name="connsiteY23" fmla="*/ 2241551 h 3311525"/>
              <a:gd name="connsiteX24" fmla="*/ 1137314 w 2470151"/>
              <a:gd name="connsiteY24" fmla="*/ 2241551 h 3311525"/>
              <a:gd name="connsiteX25" fmla="*/ 563563 w 2470151"/>
              <a:gd name="connsiteY25" fmla="*/ 2241551 h 3311525"/>
              <a:gd name="connsiteX26" fmla="*/ 563563 w 2470151"/>
              <a:gd name="connsiteY26" fmla="*/ 2417763 h 3311525"/>
              <a:gd name="connsiteX27" fmla="*/ 949325 w 2470151"/>
              <a:gd name="connsiteY27" fmla="*/ 2417763 h 3311525"/>
              <a:gd name="connsiteX28" fmla="*/ 949325 w 2470151"/>
              <a:gd name="connsiteY28" fmla="*/ 2268067 h 3311525"/>
              <a:gd name="connsiteX29" fmla="*/ 949325 w 2470151"/>
              <a:gd name="connsiteY29" fmla="*/ 2241551 h 3311525"/>
              <a:gd name="connsiteX30" fmla="*/ 893297 w 2470151"/>
              <a:gd name="connsiteY30" fmla="*/ 2241551 h 3311525"/>
              <a:gd name="connsiteX31" fmla="*/ 582787 w 2470151"/>
              <a:gd name="connsiteY31" fmla="*/ 2241551 h 3311525"/>
              <a:gd name="connsiteX32" fmla="*/ 1582005 w 2470151"/>
              <a:gd name="connsiteY32" fmla="*/ 1939925 h 3311525"/>
              <a:gd name="connsiteX33" fmla="*/ 1582005 w 2470151"/>
              <a:gd name="connsiteY33" fmla="*/ 1945416 h 3311525"/>
              <a:gd name="connsiteX34" fmla="*/ 1582005 w 2470151"/>
              <a:gd name="connsiteY34" fmla="*/ 2109751 h 3311525"/>
              <a:gd name="connsiteX35" fmla="*/ 1582005 w 2470151"/>
              <a:gd name="connsiteY35" fmla="*/ 2119313 h 3311525"/>
              <a:gd name="connsiteX36" fmla="*/ 1605040 w 2470151"/>
              <a:gd name="connsiteY36" fmla="*/ 2119313 h 3311525"/>
              <a:gd name="connsiteX37" fmla="*/ 1950864 w 2470151"/>
              <a:gd name="connsiteY37" fmla="*/ 2119313 h 3311525"/>
              <a:gd name="connsiteX38" fmla="*/ 1970820 w 2470151"/>
              <a:gd name="connsiteY38" fmla="*/ 2119313 h 3311525"/>
              <a:gd name="connsiteX39" fmla="*/ 1970820 w 2470151"/>
              <a:gd name="connsiteY39" fmla="*/ 2052500 h 3311525"/>
              <a:gd name="connsiteX40" fmla="*/ 1970820 w 2470151"/>
              <a:gd name="connsiteY40" fmla="*/ 1941391 h 3311525"/>
              <a:gd name="connsiteX41" fmla="*/ 1970820 w 2470151"/>
              <a:gd name="connsiteY41" fmla="*/ 1939925 h 3311525"/>
              <a:gd name="connsiteX42" fmla="*/ 1892569 w 2470151"/>
              <a:gd name="connsiteY42" fmla="*/ 1939925 h 3311525"/>
              <a:gd name="connsiteX43" fmla="*/ 1666396 w 2470151"/>
              <a:gd name="connsiteY43" fmla="*/ 1939925 h 3311525"/>
              <a:gd name="connsiteX44" fmla="*/ 1071563 w 2470151"/>
              <a:gd name="connsiteY44" fmla="*/ 1939925 h 3311525"/>
              <a:gd name="connsiteX45" fmla="*/ 1071563 w 2470151"/>
              <a:gd name="connsiteY45" fmla="*/ 1973277 h 3311525"/>
              <a:gd name="connsiteX46" fmla="*/ 1071563 w 2470151"/>
              <a:gd name="connsiteY46" fmla="*/ 2089495 h 3311525"/>
              <a:gd name="connsiteX47" fmla="*/ 1071563 w 2470151"/>
              <a:gd name="connsiteY47" fmla="*/ 2119313 h 3311525"/>
              <a:gd name="connsiteX48" fmla="*/ 1187300 w 2470151"/>
              <a:gd name="connsiteY48" fmla="*/ 2119313 h 3311525"/>
              <a:gd name="connsiteX49" fmla="*/ 1347760 w 2470151"/>
              <a:gd name="connsiteY49" fmla="*/ 2119313 h 3311525"/>
              <a:gd name="connsiteX50" fmla="*/ 1460500 w 2470151"/>
              <a:gd name="connsiteY50" fmla="*/ 2119313 h 3311525"/>
              <a:gd name="connsiteX51" fmla="*/ 1460500 w 2470151"/>
              <a:gd name="connsiteY51" fmla="*/ 2082453 h 3311525"/>
              <a:gd name="connsiteX52" fmla="*/ 1460500 w 2470151"/>
              <a:gd name="connsiteY52" fmla="*/ 1939925 h 3311525"/>
              <a:gd name="connsiteX53" fmla="*/ 1290351 w 2470151"/>
              <a:gd name="connsiteY53" fmla="*/ 1939925 h 3311525"/>
              <a:gd name="connsiteX54" fmla="*/ 1137314 w 2470151"/>
              <a:gd name="connsiteY54" fmla="*/ 1939925 h 3311525"/>
              <a:gd name="connsiteX55" fmla="*/ 563563 w 2470151"/>
              <a:gd name="connsiteY55" fmla="*/ 1939925 h 3311525"/>
              <a:gd name="connsiteX56" fmla="*/ 563563 w 2470151"/>
              <a:gd name="connsiteY56" fmla="*/ 2119313 h 3311525"/>
              <a:gd name="connsiteX57" fmla="*/ 641081 w 2470151"/>
              <a:gd name="connsiteY57" fmla="*/ 2119313 h 3311525"/>
              <a:gd name="connsiteX58" fmla="*/ 936798 w 2470151"/>
              <a:gd name="connsiteY58" fmla="*/ 2119313 h 3311525"/>
              <a:gd name="connsiteX59" fmla="*/ 949325 w 2470151"/>
              <a:gd name="connsiteY59" fmla="*/ 2119313 h 3311525"/>
              <a:gd name="connsiteX60" fmla="*/ 949325 w 2470151"/>
              <a:gd name="connsiteY60" fmla="*/ 2083348 h 3311525"/>
              <a:gd name="connsiteX61" fmla="*/ 949325 w 2470151"/>
              <a:gd name="connsiteY61" fmla="*/ 1939925 h 3311525"/>
              <a:gd name="connsiteX62" fmla="*/ 893297 w 2470151"/>
              <a:gd name="connsiteY62" fmla="*/ 1939925 h 3311525"/>
              <a:gd name="connsiteX63" fmla="*/ 582787 w 2470151"/>
              <a:gd name="connsiteY63" fmla="*/ 1939925 h 3311525"/>
              <a:gd name="connsiteX64" fmla="*/ 1582005 w 2470151"/>
              <a:gd name="connsiteY64" fmla="*/ 1643063 h 3311525"/>
              <a:gd name="connsiteX65" fmla="*/ 1582005 w 2470151"/>
              <a:gd name="connsiteY65" fmla="*/ 1753749 h 3311525"/>
              <a:gd name="connsiteX66" fmla="*/ 1582005 w 2470151"/>
              <a:gd name="connsiteY66" fmla="*/ 1819275 h 3311525"/>
              <a:gd name="connsiteX67" fmla="*/ 1605040 w 2470151"/>
              <a:gd name="connsiteY67" fmla="*/ 1819275 h 3311525"/>
              <a:gd name="connsiteX68" fmla="*/ 1950864 w 2470151"/>
              <a:gd name="connsiteY68" fmla="*/ 1819275 h 3311525"/>
              <a:gd name="connsiteX69" fmla="*/ 1970820 w 2470151"/>
              <a:gd name="connsiteY69" fmla="*/ 1819275 h 3311525"/>
              <a:gd name="connsiteX70" fmla="*/ 1970820 w 2470151"/>
              <a:gd name="connsiteY70" fmla="*/ 1772909 h 3311525"/>
              <a:gd name="connsiteX71" fmla="*/ 1970820 w 2470151"/>
              <a:gd name="connsiteY71" fmla="*/ 1664879 h 3311525"/>
              <a:gd name="connsiteX72" fmla="*/ 1970820 w 2470151"/>
              <a:gd name="connsiteY72" fmla="*/ 1643063 h 3311525"/>
              <a:gd name="connsiteX73" fmla="*/ 1892569 w 2470151"/>
              <a:gd name="connsiteY73" fmla="*/ 1643063 h 3311525"/>
              <a:gd name="connsiteX74" fmla="*/ 1666396 w 2470151"/>
              <a:gd name="connsiteY74" fmla="*/ 1643063 h 3311525"/>
              <a:gd name="connsiteX75" fmla="*/ 1071563 w 2470151"/>
              <a:gd name="connsiteY75" fmla="*/ 1643063 h 3311525"/>
              <a:gd name="connsiteX76" fmla="*/ 1071563 w 2470151"/>
              <a:gd name="connsiteY76" fmla="*/ 1675852 h 3311525"/>
              <a:gd name="connsiteX77" fmla="*/ 1071563 w 2470151"/>
              <a:gd name="connsiteY77" fmla="*/ 1819275 h 3311525"/>
              <a:gd name="connsiteX78" fmla="*/ 1187300 w 2470151"/>
              <a:gd name="connsiteY78" fmla="*/ 1819275 h 3311525"/>
              <a:gd name="connsiteX79" fmla="*/ 1347760 w 2470151"/>
              <a:gd name="connsiteY79" fmla="*/ 1819275 h 3311525"/>
              <a:gd name="connsiteX80" fmla="*/ 1460500 w 2470151"/>
              <a:gd name="connsiteY80" fmla="*/ 1819275 h 3311525"/>
              <a:gd name="connsiteX81" fmla="*/ 1460500 w 2470151"/>
              <a:gd name="connsiteY81" fmla="*/ 1766153 h 3311525"/>
              <a:gd name="connsiteX82" fmla="*/ 1460500 w 2470151"/>
              <a:gd name="connsiteY82" fmla="*/ 1645257 h 3311525"/>
              <a:gd name="connsiteX83" fmla="*/ 1460500 w 2470151"/>
              <a:gd name="connsiteY83" fmla="*/ 1643063 h 3311525"/>
              <a:gd name="connsiteX84" fmla="*/ 1290351 w 2470151"/>
              <a:gd name="connsiteY84" fmla="*/ 1643063 h 3311525"/>
              <a:gd name="connsiteX85" fmla="*/ 1137314 w 2470151"/>
              <a:gd name="connsiteY85" fmla="*/ 1643063 h 3311525"/>
              <a:gd name="connsiteX86" fmla="*/ 563563 w 2470151"/>
              <a:gd name="connsiteY86" fmla="*/ 1643063 h 3311525"/>
              <a:gd name="connsiteX87" fmla="*/ 563563 w 2470151"/>
              <a:gd name="connsiteY87" fmla="*/ 1819275 h 3311525"/>
              <a:gd name="connsiteX88" fmla="*/ 641081 w 2470151"/>
              <a:gd name="connsiteY88" fmla="*/ 1819275 h 3311525"/>
              <a:gd name="connsiteX89" fmla="*/ 936798 w 2470151"/>
              <a:gd name="connsiteY89" fmla="*/ 1819275 h 3311525"/>
              <a:gd name="connsiteX90" fmla="*/ 949325 w 2470151"/>
              <a:gd name="connsiteY90" fmla="*/ 1819275 h 3311525"/>
              <a:gd name="connsiteX91" fmla="*/ 949325 w 2470151"/>
              <a:gd name="connsiteY91" fmla="*/ 1785923 h 3311525"/>
              <a:gd name="connsiteX92" fmla="*/ 949325 w 2470151"/>
              <a:gd name="connsiteY92" fmla="*/ 1669705 h 3311525"/>
              <a:gd name="connsiteX93" fmla="*/ 949325 w 2470151"/>
              <a:gd name="connsiteY93" fmla="*/ 1643063 h 3311525"/>
              <a:gd name="connsiteX94" fmla="*/ 893297 w 2470151"/>
              <a:gd name="connsiteY94" fmla="*/ 1643063 h 3311525"/>
              <a:gd name="connsiteX95" fmla="*/ 582787 w 2470151"/>
              <a:gd name="connsiteY95" fmla="*/ 1643063 h 3311525"/>
              <a:gd name="connsiteX96" fmla="*/ 1582005 w 2470151"/>
              <a:gd name="connsiteY96" fmla="*/ 1341438 h 3311525"/>
              <a:gd name="connsiteX97" fmla="*/ 1582005 w 2470151"/>
              <a:gd name="connsiteY97" fmla="*/ 1520825 h 3311525"/>
              <a:gd name="connsiteX98" fmla="*/ 1605040 w 2470151"/>
              <a:gd name="connsiteY98" fmla="*/ 1520825 h 3311525"/>
              <a:gd name="connsiteX99" fmla="*/ 1950864 w 2470151"/>
              <a:gd name="connsiteY99" fmla="*/ 1520825 h 3311525"/>
              <a:gd name="connsiteX100" fmla="*/ 1971676 w 2470151"/>
              <a:gd name="connsiteY100" fmla="*/ 1520825 h 3311525"/>
              <a:gd name="connsiteX101" fmla="*/ 1971676 w 2470151"/>
              <a:gd name="connsiteY101" fmla="*/ 1341438 h 3311525"/>
              <a:gd name="connsiteX102" fmla="*/ 1071563 w 2470151"/>
              <a:gd name="connsiteY102" fmla="*/ 1341438 h 3311525"/>
              <a:gd name="connsiteX103" fmla="*/ 1071563 w 2470151"/>
              <a:gd name="connsiteY103" fmla="*/ 1491133 h 3311525"/>
              <a:gd name="connsiteX104" fmla="*/ 1071563 w 2470151"/>
              <a:gd name="connsiteY104" fmla="*/ 1520825 h 3311525"/>
              <a:gd name="connsiteX105" fmla="*/ 1187300 w 2470151"/>
              <a:gd name="connsiteY105" fmla="*/ 1520825 h 3311525"/>
              <a:gd name="connsiteX106" fmla="*/ 1347760 w 2470151"/>
              <a:gd name="connsiteY106" fmla="*/ 1520825 h 3311525"/>
              <a:gd name="connsiteX107" fmla="*/ 1460500 w 2470151"/>
              <a:gd name="connsiteY107" fmla="*/ 1520825 h 3311525"/>
              <a:gd name="connsiteX108" fmla="*/ 1460500 w 2470151"/>
              <a:gd name="connsiteY108" fmla="*/ 1467019 h 3311525"/>
              <a:gd name="connsiteX109" fmla="*/ 1460500 w 2470151"/>
              <a:gd name="connsiteY109" fmla="*/ 1358907 h 3311525"/>
              <a:gd name="connsiteX110" fmla="*/ 1460500 w 2470151"/>
              <a:gd name="connsiteY110" fmla="*/ 1341438 h 3311525"/>
              <a:gd name="connsiteX111" fmla="*/ 563563 w 2470151"/>
              <a:gd name="connsiteY111" fmla="*/ 1341438 h 3311525"/>
              <a:gd name="connsiteX112" fmla="*/ 563563 w 2470151"/>
              <a:gd name="connsiteY112" fmla="*/ 1520825 h 3311525"/>
              <a:gd name="connsiteX113" fmla="*/ 641081 w 2470151"/>
              <a:gd name="connsiteY113" fmla="*/ 1520825 h 3311525"/>
              <a:gd name="connsiteX114" fmla="*/ 936798 w 2470151"/>
              <a:gd name="connsiteY114" fmla="*/ 1520825 h 3311525"/>
              <a:gd name="connsiteX115" fmla="*/ 949325 w 2470151"/>
              <a:gd name="connsiteY115" fmla="*/ 1520825 h 3311525"/>
              <a:gd name="connsiteX116" fmla="*/ 949325 w 2470151"/>
              <a:gd name="connsiteY116" fmla="*/ 1493475 h 3311525"/>
              <a:gd name="connsiteX117" fmla="*/ 949325 w 2470151"/>
              <a:gd name="connsiteY117" fmla="*/ 1343298 h 3311525"/>
              <a:gd name="connsiteX118" fmla="*/ 949325 w 2470151"/>
              <a:gd name="connsiteY118" fmla="*/ 1341438 h 3311525"/>
              <a:gd name="connsiteX119" fmla="*/ 502136 w 2470151"/>
              <a:gd name="connsiteY119" fmla="*/ 1219200 h 3311525"/>
              <a:gd name="connsiteX120" fmla="*/ 1006951 w 2470151"/>
              <a:gd name="connsiteY120" fmla="*/ 1219200 h 3311525"/>
              <a:gd name="connsiteX121" fmla="*/ 1010444 w 2470151"/>
              <a:gd name="connsiteY121" fmla="*/ 1219200 h 3311525"/>
              <a:gd name="connsiteX122" fmla="*/ 1112852 w 2470151"/>
              <a:gd name="connsiteY122" fmla="*/ 1219200 h 3311525"/>
              <a:gd name="connsiteX123" fmla="*/ 1416083 w 2470151"/>
              <a:gd name="connsiteY123" fmla="*/ 1219200 h 3311525"/>
              <a:gd name="connsiteX124" fmla="*/ 1521253 w 2470151"/>
              <a:gd name="connsiteY124" fmla="*/ 1219200 h 3311525"/>
              <a:gd name="connsiteX125" fmla="*/ 1538765 w 2470151"/>
              <a:gd name="connsiteY125" fmla="*/ 1219200 h 3311525"/>
              <a:gd name="connsiteX126" fmla="*/ 2031515 w 2470151"/>
              <a:gd name="connsiteY126" fmla="*/ 1219200 h 3311525"/>
              <a:gd name="connsiteX127" fmla="*/ 2092325 w 2470151"/>
              <a:gd name="connsiteY127" fmla="*/ 1280066 h 3311525"/>
              <a:gd name="connsiteX128" fmla="*/ 2092325 w 2470151"/>
              <a:gd name="connsiteY128" fmla="*/ 1491133 h 3311525"/>
              <a:gd name="connsiteX129" fmla="*/ 2092325 w 2470151"/>
              <a:gd name="connsiteY129" fmla="*/ 1568883 h 3311525"/>
              <a:gd name="connsiteX130" fmla="*/ 2092325 w 2470151"/>
              <a:gd name="connsiteY130" fmla="*/ 1581944 h 3311525"/>
              <a:gd name="connsiteX131" fmla="*/ 2092325 w 2470151"/>
              <a:gd name="connsiteY131" fmla="*/ 1675852 h 3311525"/>
              <a:gd name="connsiteX132" fmla="*/ 2092325 w 2470151"/>
              <a:gd name="connsiteY132" fmla="*/ 1781375 h 3311525"/>
              <a:gd name="connsiteX133" fmla="*/ 2092325 w 2470151"/>
              <a:gd name="connsiteY133" fmla="*/ 1817250 h 3311525"/>
              <a:gd name="connsiteX134" fmla="*/ 2092325 w 2470151"/>
              <a:gd name="connsiteY134" fmla="*/ 1879600 h 3311525"/>
              <a:gd name="connsiteX135" fmla="*/ 2092325 w 2470151"/>
              <a:gd name="connsiteY135" fmla="*/ 1940998 h 3311525"/>
              <a:gd name="connsiteX136" fmla="*/ 2092325 w 2470151"/>
              <a:gd name="connsiteY136" fmla="*/ 1967342 h 3311525"/>
              <a:gd name="connsiteX137" fmla="*/ 2092325 w 2470151"/>
              <a:gd name="connsiteY137" fmla="*/ 2035724 h 3311525"/>
              <a:gd name="connsiteX138" fmla="*/ 2092325 w 2470151"/>
              <a:gd name="connsiteY138" fmla="*/ 2118625 h 3311525"/>
              <a:gd name="connsiteX139" fmla="*/ 2092325 w 2470151"/>
              <a:gd name="connsiteY139" fmla="*/ 2128553 h 3311525"/>
              <a:gd name="connsiteX140" fmla="*/ 2092325 w 2470151"/>
              <a:gd name="connsiteY140" fmla="*/ 2180432 h 3311525"/>
              <a:gd name="connsiteX141" fmla="*/ 2092325 w 2470151"/>
              <a:gd name="connsiteY141" fmla="*/ 2190490 h 3311525"/>
              <a:gd name="connsiteX142" fmla="*/ 2092325 w 2470151"/>
              <a:gd name="connsiteY142" fmla="*/ 2266776 h 3311525"/>
              <a:gd name="connsiteX143" fmla="*/ 2092325 w 2470151"/>
              <a:gd name="connsiteY143" fmla="*/ 2285765 h 3311525"/>
              <a:gd name="connsiteX144" fmla="*/ 2092325 w 2470151"/>
              <a:gd name="connsiteY144" fmla="*/ 2357363 h 3311525"/>
              <a:gd name="connsiteX145" fmla="*/ 2092325 w 2470151"/>
              <a:gd name="connsiteY145" fmla="*/ 2383779 h 3311525"/>
              <a:gd name="connsiteX146" fmla="*/ 2092325 w 2470151"/>
              <a:gd name="connsiteY146" fmla="*/ 2408664 h 3311525"/>
              <a:gd name="connsiteX147" fmla="*/ 2092325 w 2470151"/>
              <a:gd name="connsiteY147" fmla="*/ 2479134 h 3311525"/>
              <a:gd name="connsiteX148" fmla="*/ 2092325 w 2470151"/>
              <a:gd name="connsiteY148" fmla="*/ 2481331 h 3311525"/>
              <a:gd name="connsiteX149" fmla="*/ 2092325 w 2470151"/>
              <a:gd name="connsiteY149" fmla="*/ 2776049 h 3311525"/>
              <a:gd name="connsiteX150" fmla="*/ 2031573 w 2470151"/>
              <a:gd name="connsiteY150" fmla="*/ 2836863 h 3311525"/>
              <a:gd name="connsiteX151" fmla="*/ 1521253 w 2470151"/>
              <a:gd name="connsiteY151" fmla="*/ 2836863 h 3311525"/>
              <a:gd name="connsiteX152" fmla="*/ 1460500 w 2470151"/>
              <a:gd name="connsiteY152" fmla="*/ 2776049 h 3311525"/>
              <a:gd name="connsiteX153" fmla="*/ 1460500 w 2470151"/>
              <a:gd name="connsiteY153" fmla="*/ 2540000 h 3311525"/>
              <a:gd name="connsiteX154" fmla="*/ 1420800 w 2470151"/>
              <a:gd name="connsiteY154" fmla="*/ 2540000 h 3311525"/>
              <a:gd name="connsiteX155" fmla="*/ 1147343 w 2470151"/>
              <a:gd name="connsiteY155" fmla="*/ 2540000 h 3311525"/>
              <a:gd name="connsiteX156" fmla="*/ 1010444 w 2470151"/>
              <a:gd name="connsiteY156" fmla="*/ 2540000 h 3311525"/>
              <a:gd name="connsiteX157" fmla="*/ 999110 w 2470151"/>
              <a:gd name="connsiteY157" fmla="*/ 2540000 h 3311525"/>
              <a:gd name="connsiteX158" fmla="*/ 502136 w 2470151"/>
              <a:gd name="connsiteY158" fmla="*/ 2540000 h 3311525"/>
              <a:gd name="connsiteX159" fmla="*/ 441325 w 2470151"/>
              <a:gd name="connsiteY159" fmla="*/ 2479134 h 3311525"/>
              <a:gd name="connsiteX160" fmla="*/ 441325 w 2470151"/>
              <a:gd name="connsiteY160" fmla="*/ 2219487 h 3311525"/>
              <a:gd name="connsiteX161" fmla="*/ 441325 w 2470151"/>
              <a:gd name="connsiteY161" fmla="*/ 2180432 h 3311525"/>
              <a:gd name="connsiteX162" fmla="*/ 441325 w 2470151"/>
              <a:gd name="connsiteY162" fmla="*/ 2105057 h 3311525"/>
              <a:gd name="connsiteX163" fmla="*/ 441325 w 2470151"/>
              <a:gd name="connsiteY163" fmla="*/ 2000319 h 3311525"/>
              <a:gd name="connsiteX164" fmla="*/ 441325 w 2470151"/>
              <a:gd name="connsiteY164" fmla="*/ 1879600 h 3311525"/>
              <a:gd name="connsiteX165" fmla="*/ 441325 w 2470151"/>
              <a:gd name="connsiteY165" fmla="*/ 1818202 h 3311525"/>
              <a:gd name="connsiteX166" fmla="*/ 441325 w 2470151"/>
              <a:gd name="connsiteY166" fmla="*/ 1669705 h 3311525"/>
              <a:gd name="connsiteX167" fmla="*/ 441325 w 2470151"/>
              <a:gd name="connsiteY167" fmla="*/ 1581944 h 3311525"/>
              <a:gd name="connsiteX168" fmla="*/ 441325 w 2470151"/>
              <a:gd name="connsiteY168" fmla="*/ 1572807 h 3311525"/>
              <a:gd name="connsiteX169" fmla="*/ 441325 w 2470151"/>
              <a:gd name="connsiteY169" fmla="*/ 1280066 h 3311525"/>
              <a:gd name="connsiteX170" fmla="*/ 502136 w 2470151"/>
              <a:gd name="connsiteY170" fmla="*/ 1219200 h 3311525"/>
              <a:gd name="connsiteX171" fmla="*/ 502116 w 2470151"/>
              <a:gd name="connsiteY171" fmla="*/ 946150 h 3311525"/>
              <a:gd name="connsiteX172" fmla="*/ 1520360 w 2470151"/>
              <a:gd name="connsiteY172" fmla="*/ 946150 h 3311525"/>
              <a:gd name="connsiteX173" fmla="*/ 1581150 w 2470151"/>
              <a:gd name="connsiteY173" fmla="*/ 1007269 h 3311525"/>
              <a:gd name="connsiteX174" fmla="*/ 1520360 w 2470151"/>
              <a:gd name="connsiteY174" fmla="*/ 1068388 h 3311525"/>
              <a:gd name="connsiteX175" fmla="*/ 502116 w 2470151"/>
              <a:gd name="connsiteY175" fmla="*/ 1068388 h 3311525"/>
              <a:gd name="connsiteX176" fmla="*/ 441325 w 2470151"/>
              <a:gd name="connsiteY176" fmla="*/ 1007269 h 3311525"/>
              <a:gd name="connsiteX177" fmla="*/ 502116 w 2470151"/>
              <a:gd name="connsiteY177" fmla="*/ 946150 h 3311525"/>
              <a:gd name="connsiteX178" fmla="*/ 502098 w 2470151"/>
              <a:gd name="connsiteY178" fmla="*/ 690563 h 3311525"/>
              <a:gd name="connsiteX179" fmla="*/ 1264791 w 2470151"/>
              <a:gd name="connsiteY179" fmla="*/ 690563 h 3311525"/>
              <a:gd name="connsiteX180" fmla="*/ 1325563 w 2470151"/>
              <a:gd name="connsiteY180" fmla="*/ 751682 h 3311525"/>
              <a:gd name="connsiteX181" fmla="*/ 1264791 w 2470151"/>
              <a:gd name="connsiteY181" fmla="*/ 812801 h 3311525"/>
              <a:gd name="connsiteX182" fmla="*/ 502098 w 2470151"/>
              <a:gd name="connsiteY182" fmla="*/ 812801 h 3311525"/>
              <a:gd name="connsiteX183" fmla="*/ 441325 w 2470151"/>
              <a:gd name="connsiteY183" fmla="*/ 751682 h 3311525"/>
              <a:gd name="connsiteX184" fmla="*/ 502098 w 2470151"/>
              <a:gd name="connsiteY184" fmla="*/ 690563 h 3311525"/>
              <a:gd name="connsiteX185" fmla="*/ 502153 w 2470151"/>
              <a:gd name="connsiteY185" fmla="*/ 454025 h 3311525"/>
              <a:gd name="connsiteX186" fmla="*/ 994860 w 2470151"/>
              <a:gd name="connsiteY186" fmla="*/ 454025 h 3311525"/>
              <a:gd name="connsiteX187" fmla="*/ 1055688 w 2470151"/>
              <a:gd name="connsiteY187" fmla="*/ 514350 h 3311525"/>
              <a:gd name="connsiteX188" fmla="*/ 994860 w 2470151"/>
              <a:gd name="connsiteY188" fmla="*/ 574675 h 3311525"/>
              <a:gd name="connsiteX189" fmla="*/ 502153 w 2470151"/>
              <a:gd name="connsiteY189" fmla="*/ 574675 h 3311525"/>
              <a:gd name="connsiteX190" fmla="*/ 441325 w 2470151"/>
              <a:gd name="connsiteY190" fmla="*/ 514350 h 3311525"/>
              <a:gd name="connsiteX191" fmla="*/ 502153 w 2470151"/>
              <a:gd name="connsiteY191" fmla="*/ 454025 h 3311525"/>
              <a:gd name="connsiteX192" fmla="*/ 1901273 w 2470151"/>
              <a:gd name="connsiteY192" fmla="*/ 207410 h 3311525"/>
              <a:gd name="connsiteX193" fmla="*/ 1901273 w 2470151"/>
              <a:gd name="connsiteY193" fmla="*/ 228534 h 3311525"/>
              <a:gd name="connsiteX194" fmla="*/ 1901273 w 2470151"/>
              <a:gd name="connsiteY194" fmla="*/ 568878 h 3311525"/>
              <a:gd name="connsiteX195" fmla="*/ 2244222 w 2470151"/>
              <a:gd name="connsiteY195" fmla="*/ 568878 h 3311525"/>
              <a:gd name="connsiteX196" fmla="*/ 2262740 w 2470151"/>
              <a:gd name="connsiteY196" fmla="*/ 568878 h 3311525"/>
              <a:gd name="connsiteX197" fmla="*/ 122238 w 2470151"/>
              <a:gd name="connsiteY197" fmla="*/ 122238 h 3311525"/>
              <a:gd name="connsiteX198" fmla="*/ 122238 w 2470151"/>
              <a:gd name="connsiteY198" fmla="*/ 3190876 h 3311525"/>
              <a:gd name="connsiteX199" fmla="*/ 2347913 w 2470151"/>
              <a:gd name="connsiteY199" fmla="*/ 3190876 h 3311525"/>
              <a:gd name="connsiteX200" fmla="*/ 2347913 w 2470151"/>
              <a:gd name="connsiteY200" fmla="*/ 690563 h 3311525"/>
              <a:gd name="connsiteX201" fmla="*/ 2309172 w 2470151"/>
              <a:gd name="connsiteY201" fmla="*/ 690563 h 3311525"/>
              <a:gd name="connsiteX202" fmla="*/ 1840431 w 2470151"/>
              <a:gd name="connsiteY202" fmla="*/ 690563 h 3311525"/>
              <a:gd name="connsiteX203" fmla="*/ 1779588 w 2470151"/>
              <a:gd name="connsiteY203" fmla="*/ 629721 h 3311525"/>
              <a:gd name="connsiteX204" fmla="*/ 1779588 w 2470151"/>
              <a:gd name="connsiteY204" fmla="*/ 131952 h 3311525"/>
              <a:gd name="connsiteX205" fmla="*/ 1779588 w 2470151"/>
              <a:gd name="connsiteY205" fmla="*/ 122238 h 3311525"/>
              <a:gd name="connsiteX206" fmla="*/ 60841 w 2470151"/>
              <a:gd name="connsiteY206" fmla="*/ 0 h 3311525"/>
              <a:gd name="connsiteX207" fmla="*/ 1836968 w 2470151"/>
              <a:gd name="connsiteY207" fmla="*/ 0 h 3311525"/>
              <a:gd name="connsiteX208" fmla="*/ 1840430 w 2470151"/>
              <a:gd name="connsiteY208" fmla="*/ 0 h 3311525"/>
              <a:gd name="connsiteX209" fmla="*/ 1840431 w 2470151"/>
              <a:gd name="connsiteY209" fmla="*/ 0 h 3311525"/>
              <a:gd name="connsiteX210" fmla="*/ 1840431 w 2470151"/>
              <a:gd name="connsiteY210" fmla="*/ 0 h 3311525"/>
              <a:gd name="connsiteX211" fmla="*/ 1840444 w 2470151"/>
              <a:gd name="connsiteY211" fmla="*/ 0 h 3311525"/>
              <a:gd name="connsiteX212" fmla="*/ 1865161 w 2470151"/>
              <a:gd name="connsiteY212" fmla="*/ 4562 h 3311525"/>
              <a:gd name="connsiteX213" fmla="*/ 1876125 w 2470151"/>
              <a:gd name="connsiteY213" fmla="*/ 12957 h 3311525"/>
              <a:gd name="connsiteX214" fmla="*/ 1883401 w 2470151"/>
              <a:gd name="connsiteY214" fmla="*/ 17873 h 3311525"/>
              <a:gd name="connsiteX215" fmla="*/ 1884922 w 2470151"/>
              <a:gd name="connsiteY215" fmla="*/ 20124 h 3311525"/>
              <a:gd name="connsiteX216" fmla="*/ 1983703 w 2470151"/>
              <a:gd name="connsiteY216" fmla="*/ 118342 h 3311525"/>
              <a:gd name="connsiteX217" fmla="*/ 2454940 w 2470151"/>
              <a:gd name="connsiteY217" fmla="*/ 586891 h 3311525"/>
              <a:gd name="connsiteX218" fmla="*/ 2463504 w 2470151"/>
              <a:gd name="connsiteY218" fmla="*/ 602537 h 3311525"/>
              <a:gd name="connsiteX219" fmla="*/ 2465778 w 2470151"/>
              <a:gd name="connsiteY219" fmla="*/ 606097 h 3311525"/>
              <a:gd name="connsiteX220" fmla="*/ 2465945 w 2470151"/>
              <a:gd name="connsiteY220" fmla="*/ 606995 h 3311525"/>
              <a:gd name="connsiteX221" fmla="*/ 2465968 w 2470151"/>
              <a:gd name="connsiteY221" fmla="*/ 607037 h 3311525"/>
              <a:gd name="connsiteX222" fmla="*/ 2470150 w 2470151"/>
              <a:gd name="connsiteY222" fmla="*/ 629464 h 3311525"/>
              <a:gd name="connsiteX223" fmla="*/ 2470150 w 2470151"/>
              <a:gd name="connsiteY223" fmla="*/ 629715 h 3311525"/>
              <a:gd name="connsiteX224" fmla="*/ 2470151 w 2470151"/>
              <a:gd name="connsiteY224" fmla="*/ 629721 h 3311525"/>
              <a:gd name="connsiteX225" fmla="*/ 2470150 w 2470151"/>
              <a:gd name="connsiteY225" fmla="*/ 629726 h 3311525"/>
              <a:gd name="connsiteX226" fmla="*/ 2470150 w 2470151"/>
              <a:gd name="connsiteY226" fmla="*/ 867606 h 3311525"/>
              <a:gd name="connsiteX227" fmla="*/ 2470150 w 2470151"/>
              <a:gd name="connsiteY227" fmla="*/ 3250707 h 3311525"/>
              <a:gd name="connsiteX228" fmla="*/ 2409309 w 2470151"/>
              <a:gd name="connsiteY228" fmla="*/ 3311525 h 3311525"/>
              <a:gd name="connsiteX229" fmla="*/ 60841 w 2470151"/>
              <a:gd name="connsiteY229" fmla="*/ 3311525 h 3311525"/>
              <a:gd name="connsiteX230" fmla="*/ 0 w 2470151"/>
              <a:gd name="connsiteY230" fmla="*/ 3250707 h 3311525"/>
              <a:gd name="connsiteX231" fmla="*/ 0 w 2470151"/>
              <a:gd name="connsiteY231" fmla="*/ 60818 h 3311525"/>
              <a:gd name="connsiteX232" fmla="*/ 60841 w 2470151"/>
              <a:gd name="connsiteY232" fmla="*/ 0 h 331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Lst>
            <a:rect l="l" t="t" r="r" b="b"/>
            <a:pathLst>
              <a:path w="2470151" h="3311525">
                <a:moveTo>
                  <a:pt x="1582005" y="2540000"/>
                </a:moveTo>
                <a:lnTo>
                  <a:pt x="1582005" y="2595049"/>
                </a:lnTo>
                <a:cubicBezTo>
                  <a:pt x="1582005" y="2715234"/>
                  <a:pt x="1582005" y="2715234"/>
                  <a:pt x="1582005" y="2715234"/>
                </a:cubicBezTo>
                <a:cubicBezTo>
                  <a:pt x="1970820" y="2715234"/>
                  <a:pt x="1970820" y="2715234"/>
                  <a:pt x="1970820" y="2715234"/>
                </a:cubicBezTo>
                <a:lnTo>
                  <a:pt x="1970820" y="2540000"/>
                </a:lnTo>
                <a:lnTo>
                  <a:pt x="1892570" y="2540000"/>
                </a:lnTo>
                <a:cubicBezTo>
                  <a:pt x="1802865" y="2540000"/>
                  <a:pt x="1718947" y="2540000"/>
                  <a:pt x="1640443" y="2540000"/>
                </a:cubicBezTo>
                <a:close/>
                <a:moveTo>
                  <a:pt x="1582005" y="2241551"/>
                </a:moveTo>
                <a:lnTo>
                  <a:pt x="1582005" y="2248858"/>
                </a:lnTo>
                <a:cubicBezTo>
                  <a:pt x="1582005" y="2291256"/>
                  <a:pt x="1582005" y="2329799"/>
                  <a:pt x="1582005" y="2364839"/>
                </a:cubicBezTo>
                <a:lnTo>
                  <a:pt x="1582005" y="2417763"/>
                </a:lnTo>
                <a:lnTo>
                  <a:pt x="1970820" y="2417763"/>
                </a:lnTo>
                <a:lnTo>
                  <a:pt x="1970820" y="2336849"/>
                </a:lnTo>
                <a:lnTo>
                  <a:pt x="1970820" y="2241551"/>
                </a:lnTo>
                <a:lnTo>
                  <a:pt x="1892569" y="2241551"/>
                </a:lnTo>
                <a:cubicBezTo>
                  <a:pt x="1812675" y="2241551"/>
                  <a:pt x="1737372" y="2241551"/>
                  <a:pt x="1666396" y="2241551"/>
                </a:cubicBezTo>
                <a:close/>
                <a:moveTo>
                  <a:pt x="1071563" y="2241551"/>
                </a:moveTo>
                <a:lnTo>
                  <a:pt x="1071563" y="2265725"/>
                </a:lnTo>
                <a:cubicBezTo>
                  <a:pt x="1071563" y="2336862"/>
                  <a:pt x="1071563" y="2384286"/>
                  <a:pt x="1071563" y="2415902"/>
                </a:cubicBezTo>
                <a:lnTo>
                  <a:pt x="1071563" y="2417763"/>
                </a:lnTo>
                <a:lnTo>
                  <a:pt x="1460500" y="2417763"/>
                </a:lnTo>
                <a:lnTo>
                  <a:pt x="1460500" y="2282241"/>
                </a:lnTo>
                <a:lnTo>
                  <a:pt x="1460500" y="2241551"/>
                </a:lnTo>
                <a:lnTo>
                  <a:pt x="1290351" y="2241551"/>
                </a:lnTo>
                <a:cubicBezTo>
                  <a:pt x="1235627" y="2241551"/>
                  <a:pt x="1184703" y="2241551"/>
                  <a:pt x="1137314" y="2241551"/>
                </a:cubicBezTo>
                <a:close/>
                <a:moveTo>
                  <a:pt x="563563" y="2241551"/>
                </a:moveTo>
                <a:lnTo>
                  <a:pt x="563563" y="2417763"/>
                </a:lnTo>
                <a:lnTo>
                  <a:pt x="949325" y="2417763"/>
                </a:lnTo>
                <a:lnTo>
                  <a:pt x="949325" y="2268067"/>
                </a:lnTo>
                <a:lnTo>
                  <a:pt x="949325" y="2241551"/>
                </a:lnTo>
                <a:lnTo>
                  <a:pt x="893297" y="2241551"/>
                </a:lnTo>
                <a:cubicBezTo>
                  <a:pt x="733222" y="2241551"/>
                  <a:pt x="638654" y="2241551"/>
                  <a:pt x="582787" y="2241551"/>
                </a:cubicBezTo>
                <a:close/>
                <a:moveTo>
                  <a:pt x="1582005" y="1939925"/>
                </a:moveTo>
                <a:lnTo>
                  <a:pt x="1582005" y="1945416"/>
                </a:lnTo>
                <a:cubicBezTo>
                  <a:pt x="1582005" y="2004632"/>
                  <a:pt x="1582005" y="2059294"/>
                  <a:pt x="1582005" y="2109751"/>
                </a:cubicBezTo>
                <a:lnTo>
                  <a:pt x="1582005" y="2119313"/>
                </a:lnTo>
                <a:lnTo>
                  <a:pt x="1605040" y="2119313"/>
                </a:lnTo>
                <a:cubicBezTo>
                  <a:pt x="1786722" y="2119313"/>
                  <a:pt x="1891006" y="2119313"/>
                  <a:pt x="1950864" y="2119313"/>
                </a:cubicBezTo>
                <a:lnTo>
                  <a:pt x="1970820" y="2119313"/>
                </a:lnTo>
                <a:lnTo>
                  <a:pt x="1970820" y="2052500"/>
                </a:lnTo>
                <a:cubicBezTo>
                  <a:pt x="1970820" y="2012198"/>
                  <a:pt x="1970820" y="1975255"/>
                  <a:pt x="1970820" y="1941391"/>
                </a:cubicBezTo>
                <a:lnTo>
                  <a:pt x="1970820" y="1939925"/>
                </a:lnTo>
                <a:lnTo>
                  <a:pt x="1892569" y="1939925"/>
                </a:lnTo>
                <a:cubicBezTo>
                  <a:pt x="1812675" y="1939925"/>
                  <a:pt x="1737372" y="1939925"/>
                  <a:pt x="1666396" y="1939925"/>
                </a:cubicBezTo>
                <a:close/>
                <a:moveTo>
                  <a:pt x="1071563" y="1939925"/>
                </a:moveTo>
                <a:lnTo>
                  <a:pt x="1071563" y="1973277"/>
                </a:lnTo>
                <a:cubicBezTo>
                  <a:pt x="1071563" y="2015432"/>
                  <a:pt x="1071563" y="2054074"/>
                  <a:pt x="1071563" y="2089495"/>
                </a:cubicBezTo>
                <a:lnTo>
                  <a:pt x="1071563" y="2119313"/>
                </a:lnTo>
                <a:lnTo>
                  <a:pt x="1187300" y="2119313"/>
                </a:lnTo>
                <a:cubicBezTo>
                  <a:pt x="1244586" y="2119313"/>
                  <a:pt x="1297985" y="2119313"/>
                  <a:pt x="1347760" y="2119313"/>
                </a:cubicBezTo>
                <a:lnTo>
                  <a:pt x="1460500" y="2119313"/>
                </a:lnTo>
                <a:lnTo>
                  <a:pt x="1460500" y="2082453"/>
                </a:lnTo>
                <a:lnTo>
                  <a:pt x="1460500" y="1939925"/>
                </a:lnTo>
                <a:lnTo>
                  <a:pt x="1290351" y="1939925"/>
                </a:lnTo>
                <a:cubicBezTo>
                  <a:pt x="1235627" y="1939925"/>
                  <a:pt x="1184703" y="1939925"/>
                  <a:pt x="1137314" y="1939925"/>
                </a:cubicBezTo>
                <a:close/>
                <a:moveTo>
                  <a:pt x="563563" y="1939925"/>
                </a:moveTo>
                <a:lnTo>
                  <a:pt x="563563" y="2119313"/>
                </a:lnTo>
                <a:lnTo>
                  <a:pt x="641081" y="2119313"/>
                </a:lnTo>
                <a:cubicBezTo>
                  <a:pt x="747606" y="2119313"/>
                  <a:pt x="845970" y="2119313"/>
                  <a:pt x="936798" y="2119313"/>
                </a:cubicBezTo>
                <a:lnTo>
                  <a:pt x="949325" y="2119313"/>
                </a:lnTo>
                <a:lnTo>
                  <a:pt x="949325" y="2083348"/>
                </a:lnTo>
                <a:lnTo>
                  <a:pt x="949325" y="1939925"/>
                </a:lnTo>
                <a:lnTo>
                  <a:pt x="893297" y="1939925"/>
                </a:lnTo>
                <a:cubicBezTo>
                  <a:pt x="733222" y="1939925"/>
                  <a:pt x="638654" y="1939925"/>
                  <a:pt x="582787" y="1939925"/>
                </a:cubicBezTo>
                <a:close/>
                <a:moveTo>
                  <a:pt x="1582005" y="1643063"/>
                </a:moveTo>
                <a:lnTo>
                  <a:pt x="1582005" y="1753749"/>
                </a:lnTo>
                <a:lnTo>
                  <a:pt x="1582005" y="1819275"/>
                </a:lnTo>
                <a:lnTo>
                  <a:pt x="1605040" y="1819275"/>
                </a:lnTo>
                <a:cubicBezTo>
                  <a:pt x="1786722" y="1819275"/>
                  <a:pt x="1891006" y="1819275"/>
                  <a:pt x="1950864" y="1819275"/>
                </a:cubicBezTo>
                <a:lnTo>
                  <a:pt x="1970820" y="1819275"/>
                </a:lnTo>
                <a:lnTo>
                  <a:pt x="1970820" y="1772909"/>
                </a:lnTo>
                <a:cubicBezTo>
                  <a:pt x="1970820" y="1727570"/>
                  <a:pt x="1970820" y="1692306"/>
                  <a:pt x="1970820" y="1664879"/>
                </a:cubicBezTo>
                <a:lnTo>
                  <a:pt x="1970820" y="1643063"/>
                </a:lnTo>
                <a:lnTo>
                  <a:pt x="1892569" y="1643063"/>
                </a:lnTo>
                <a:cubicBezTo>
                  <a:pt x="1812675" y="1643063"/>
                  <a:pt x="1737372" y="1643063"/>
                  <a:pt x="1666396" y="1643063"/>
                </a:cubicBezTo>
                <a:close/>
                <a:moveTo>
                  <a:pt x="1071563" y="1643063"/>
                </a:moveTo>
                <a:lnTo>
                  <a:pt x="1071563" y="1675852"/>
                </a:lnTo>
                <a:lnTo>
                  <a:pt x="1071563" y="1819275"/>
                </a:lnTo>
                <a:lnTo>
                  <a:pt x="1187300" y="1819275"/>
                </a:lnTo>
                <a:cubicBezTo>
                  <a:pt x="1244586" y="1819275"/>
                  <a:pt x="1297985" y="1819275"/>
                  <a:pt x="1347760" y="1819275"/>
                </a:cubicBezTo>
                <a:lnTo>
                  <a:pt x="1460500" y="1819275"/>
                </a:lnTo>
                <a:lnTo>
                  <a:pt x="1460500" y="1766153"/>
                </a:lnTo>
                <a:cubicBezTo>
                  <a:pt x="1460500" y="1721958"/>
                  <a:pt x="1460500" y="1681782"/>
                  <a:pt x="1460500" y="1645257"/>
                </a:cubicBezTo>
                <a:lnTo>
                  <a:pt x="1460500" y="1643063"/>
                </a:lnTo>
                <a:lnTo>
                  <a:pt x="1290351" y="1643063"/>
                </a:lnTo>
                <a:cubicBezTo>
                  <a:pt x="1235627" y="1643063"/>
                  <a:pt x="1184703" y="1643063"/>
                  <a:pt x="1137314" y="1643063"/>
                </a:cubicBezTo>
                <a:close/>
                <a:moveTo>
                  <a:pt x="563563" y="1643063"/>
                </a:moveTo>
                <a:lnTo>
                  <a:pt x="563563" y="1819275"/>
                </a:lnTo>
                <a:lnTo>
                  <a:pt x="641081" y="1819275"/>
                </a:lnTo>
                <a:cubicBezTo>
                  <a:pt x="747606" y="1819275"/>
                  <a:pt x="845970" y="1819275"/>
                  <a:pt x="936798" y="1819275"/>
                </a:cubicBezTo>
                <a:lnTo>
                  <a:pt x="949325" y="1819275"/>
                </a:lnTo>
                <a:lnTo>
                  <a:pt x="949325" y="1785923"/>
                </a:lnTo>
                <a:cubicBezTo>
                  <a:pt x="949325" y="1743768"/>
                  <a:pt x="949325" y="1705126"/>
                  <a:pt x="949325" y="1669705"/>
                </a:cubicBezTo>
                <a:lnTo>
                  <a:pt x="949325" y="1643063"/>
                </a:lnTo>
                <a:lnTo>
                  <a:pt x="893297" y="1643063"/>
                </a:lnTo>
                <a:cubicBezTo>
                  <a:pt x="733222" y="1643063"/>
                  <a:pt x="638654" y="1643063"/>
                  <a:pt x="582787" y="1643063"/>
                </a:cubicBezTo>
                <a:close/>
                <a:moveTo>
                  <a:pt x="1582005" y="1341438"/>
                </a:moveTo>
                <a:lnTo>
                  <a:pt x="1582005" y="1520825"/>
                </a:lnTo>
                <a:lnTo>
                  <a:pt x="1605040" y="1520825"/>
                </a:lnTo>
                <a:cubicBezTo>
                  <a:pt x="1786722" y="1520825"/>
                  <a:pt x="1891006" y="1520825"/>
                  <a:pt x="1950864" y="1520825"/>
                </a:cubicBezTo>
                <a:lnTo>
                  <a:pt x="1971676" y="1520825"/>
                </a:lnTo>
                <a:lnTo>
                  <a:pt x="1971676" y="1341438"/>
                </a:lnTo>
                <a:close/>
                <a:moveTo>
                  <a:pt x="1071563" y="1341438"/>
                </a:moveTo>
                <a:lnTo>
                  <a:pt x="1071563" y="1491133"/>
                </a:lnTo>
                <a:lnTo>
                  <a:pt x="1071563" y="1520825"/>
                </a:lnTo>
                <a:lnTo>
                  <a:pt x="1187300" y="1520825"/>
                </a:lnTo>
                <a:cubicBezTo>
                  <a:pt x="1244586" y="1520825"/>
                  <a:pt x="1297985" y="1520825"/>
                  <a:pt x="1347760" y="1520825"/>
                </a:cubicBezTo>
                <a:lnTo>
                  <a:pt x="1460500" y="1520825"/>
                </a:lnTo>
                <a:lnTo>
                  <a:pt x="1460500" y="1467019"/>
                </a:lnTo>
                <a:cubicBezTo>
                  <a:pt x="1460500" y="1420268"/>
                  <a:pt x="1460500" y="1385205"/>
                  <a:pt x="1460500" y="1358907"/>
                </a:cubicBezTo>
                <a:lnTo>
                  <a:pt x="1460500" y="1341438"/>
                </a:lnTo>
                <a:close/>
                <a:moveTo>
                  <a:pt x="563563" y="1341438"/>
                </a:moveTo>
                <a:lnTo>
                  <a:pt x="563563" y="1520825"/>
                </a:lnTo>
                <a:lnTo>
                  <a:pt x="641081" y="1520825"/>
                </a:lnTo>
                <a:cubicBezTo>
                  <a:pt x="747606" y="1520825"/>
                  <a:pt x="845970" y="1520825"/>
                  <a:pt x="936798" y="1520825"/>
                </a:cubicBezTo>
                <a:lnTo>
                  <a:pt x="949325" y="1520825"/>
                </a:lnTo>
                <a:lnTo>
                  <a:pt x="949325" y="1493475"/>
                </a:lnTo>
                <a:cubicBezTo>
                  <a:pt x="949325" y="1422339"/>
                  <a:pt x="949325" y="1374915"/>
                  <a:pt x="949325" y="1343298"/>
                </a:cubicBezTo>
                <a:lnTo>
                  <a:pt x="949325" y="1341438"/>
                </a:lnTo>
                <a:close/>
                <a:moveTo>
                  <a:pt x="502136" y="1219200"/>
                </a:moveTo>
                <a:cubicBezTo>
                  <a:pt x="693309" y="1219200"/>
                  <a:pt x="860584" y="1219200"/>
                  <a:pt x="1006951" y="1219200"/>
                </a:cubicBezTo>
                <a:lnTo>
                  <a:pt x="1010444" y="1219200"/>
                </a:lnTo>
                <a:lnTo>
                  <a:pt x="1112852" y="1219200"/>
                </a:lnTo>
                <a:cubicBezTo>
                  <a:pt x="1227685" y="1219200"/>
                  <a:pt x="1328164" y="1219200"/>
                  <a:pt x="1416083" y="1219200"/>
                </a:cubicBezTo>
                <a:lnTo>
                  <a:pt x="1521253" y="1219200"/>
                </a:lnTo>
                <a:lnTo>
                  <a:pt x="1538765" y="1219200"/>
                </a:lnTo>
                <a:cubicBezTo>
                  <a:pt x="2031515" y="1219200"/>
                  <a:pt x="2031515" y="1219200"/>
                  <a:pt x="2031515" y="1219200"/>
                </a:cubicBezTo>
                <a:cubicBezTo>
                  <a:pt x="2064961" y="1219200"/>
                  <a:pt x="2092325" y="1246590"/>
                  <a:pt x="2092325" y="1280066"/>
                </a:cubicBezTo>
                <a:cubicBezTo>
                  <a:pt x="2092325" y="1355008"/>
                  <a:pt x="2092325" y="1425266"/>
                  <a:pt x="2092325" y="1491133"/>
                </a:cubicBezTo>
                <a:lnTo>
                  <a:pt x="2092325" y="1568883"/>
                </a:lnTo>
                <a:lnTo>
                  <a:pt x="2092325" y="1581944"/>
                </a:lnTo>
                <a:lnTo>
                  <a:pt x="2092325" y="1675852"/>
                </a:lnTo>
                <a:lnTo>
                  <a:pt x="2092325" y="1781375"/>
                </a:lnTo>
                <a:lnTo>
                  <a:pt x="2092325" y="1817250"/>
                </a:lnTo>
                <a:lnTo>
                  <a:pt x="2092325" y="1879600"/>
                </a:lnTo>
                <a:lnTo>
                  <a:pt x="2092325" y="1940998"/>
                </a:lnTo>
                <a:lnTo>
                  <a:pt x="2092325" y="1967342"/>
                </a:lnTo>
                <a:lnTo>
                  <a:pt x="2092325" y="2035724"/>
                </a:lnTo>
                <a:cubicBezTo>
                  <a:pt x="2092325" y="2065285"/>
                  <a:pt x="2092325" y="2092874"/>
                  <a:pt x="2092325" y="2118625"/>
                </a:cubicBezTo>
                <a:lnTo>
                  <a:pt x="2092325" y="2128553"/>
                </a:lnTo>
                <a:lnTo>
                  <a:pt x="2092325" y="2180432"/>
                </a:lnTo>
                <a:lnTo>
                  <a:pt x="2092325" y="2190490"/>
                </a:lnTo>
                <a:lnTo>
                  <a:pt x="2092325" y="2266776"/>
                </a:lnTo>
                <a:lnTo>
                  <a:pt x="2092325" y="2285765"/>
                </a:lnTo>
                <a:cubicBezTo>
                  <a:pt x="2092325" y="2313389"/>
                  <a:pt x="2092325" y="2337067"/>
                  <a:pt x="2092325" y="2357363"/>
                </a:cubicBezTo>
                <a:lnTo>
                  <a:pt x="2092325" y="2383779"/>
                </a:lnTo>
                <a:lnTo>
                  <a:pt x="2092325" y="2408664"/>
                </a:lnTo>
                <a:cubicBezTo>
                  <a:pt x="2092325" y="2479134"/>
                  <a:pt x="2092325" y="2479134"/>
                  <a:pt x="2092325" y="2479134"/>
                </a:cubicBezTo>
                <a:lnTo>
                  <a:pt x="2092325" y="2481331"/>
                </a:lnTo>
                <a:cubicBezTo>
                  <a:pt x="2092325" y="2776049"/>
                  <a:pt x="2092325" y="2776049"/>
                  <a:pt x="2092325" y="2776049"/>
                </a:cubicBezTo>
                <a:cubicBezTo>
                  <a:pt x="2092325" y="2809497"/>
                  <a:pt x="2064987" y="2836863"/>
                  <a:pt x="2031573" y="2836863"/>
                </a:cubicBezTo>
                <a:cubicBezTo>
                  <a:pt x="1521253" y="2836863"/>
                  <a:pt x="1521253" y="2836863"/>
                  <a:pt x="1521253" y="2836863"/>
                </a:cubicBezTo>
                <a:cubicBezTo>
                  <a:pt x="1487839" y="2836863"/>
                  <a:pt x="1460500" y="2809497"/>
                  <a:pt x="1460500" y="2776049"/>
                </a:cubicBezTo>
                <a:lnTo>
                  <a:pt x="1460500" y="2540000"/>
                </a:lnTo>
                <a:lnTo>
                  <a:pt x="1420800" y="2540000"/>
                </a:lnTo>
                <a:cubicBezTo>
                  <a:pt x="1318726" y="2540000"/>
                  <a:pt x="1227994" y="2540000"/>
                  <a:pt x="1147343" y="2540000"/>
                </a:cubicBezTo>
                <a:lnTo>
                  <a:pt x="1010444" y="2540000"/>
                </a:lnTo>
                <a:lnTo>
                  <a:pt x="999110" y="2540000"/>
                </a:lnTo>
                <a:cubicBezTo>
                  <a:pt x="502136" y="2540000"/>
                  <a:pt x="502136" y="2540000"/>
                  <a:pt x="502136" y="2540000"/>
                </a:cubicBezTo>
                <a:cubicBezTo>
                  <a:pt x="468690" y="2540000"/>
                  <a:pt x="441325" y="2512610"/>
                  <a:pt x="441325" y="2479134"/>
                </a:cubicBezTo>
                <a:cubicBezTo>
                  <a:pt x="441325" y="2385457"/>
                  <a:pt x="441325" y="2299098"/>
                  <a:pt x="441325" y="2219487"/>
                </a:cubicBezTo>
                <a:lnTo>
                  <a:pt x="441325" y="2180432"/>
                </a:lnTo>
                <a:lnTo>
                  <a:pt x="441325" y="2105057"/>
                </a:lnTo>
                <a:cubicBezTo>
                  <a:pt x="441325" y="2068553"/>
                  <a:pt x="441325" y="2033664"/>
                  <a:pt x="441325" y="2000319"/>
                </a:cubicBezTo>
                <a:lnTo>
                  <a:pt x="441325" y="1879600"/>
                </a:lnTo>
                <a:lnTo>
                  <a:pt x="441325" y="1818202"/>
                </a:lnTo>
                <a:cubicBezTo>
                  <a:pt x="441325" y="1763290"/>
                  <a:pt x="441325" y="1713982"/>
                  <a:pt x="441325" y="1669705"/>
                </a:cubicBezTo>
                <a:lnTo>
                  <a:pt x="441325" y="1581944"/>
                </a:lnTo>
                <a:lnTo>
                  <a:pt x="441325" y="1572807"/>
                </a:lnTo>
                <a:cubicBezTo>
                  <a:pt x="441325" y="1280066"/>
                  <a:pt x="441325" y="1280066"/>
                  <a:pt x="441325" y="1280066"/>
                </a:cubicBezTo>
                <a:cubicBezTo>
                  <a:pt x="441325" y="1246590"/>
                  <a:pt x="468690" y="1219200"/>
                  <a:pt x="502136" y="1219200"/>
                </a:cubicBezTo>
                <a:close/>
                <a:moveTo>
                  <a:pt x="502116" y="946150"/>
                </a:moveTo>
                <a:cubicBezTo>
                  <a:pt x="1520360" y="946150"/>
                  <a:pt x="1520360" y="946150"/>
                  <a:pt x="1520360" y="946150"/>
                </a:cubicBezTo>
                <a:cubicBezTo>
                  <a:pt x="1553794" y="946150"/>
                  <a:pt x="1581150" y="973654"/>
                  <a:pt x="1581150" y="1007269"/>
                </a:cubicBezTo>
                <a:cubicBezTo>
                  <a:pt x="1581150" y="1040885"/>
                  <a:pt x="1553794" y="1068388"/>
                  <a:pt x="1520360" y="1068388"/>
                </a:cubicBezTo>
                <a:cubicBezTo>
                  <a:pt x="502116" y="1068388"/>
                  <a:pt x="502116" y="1068388"/>
                  <a:pt x="502116" y="1068388"/>
                </a:cubicBezTo>
                <a:cubicBezTo>
                  <a:pt x="468681" y="1068388"/>
                  <a:pt x="441325" y="1040885"/>
                  <a:pt x="441325" y="1007269"/>
                </a:cubicBezTo>
                <a:cubicBezTo>
                  <a:pt x="441325" y="973654"/>
                  <a:pt x="468681" y="946150"/>
                  <a:pt x="502116" y="946150"/>
                </a:cubicBezTo>
                <a:close/>
                <a:moveTo>
                  <a:pt x="502098" y="690563"/>
                </a:moveTo>
                <a:cubicBezTo>
                  <a:pt x="1264791" y="690563"/>
                  <a:pt x="1264791" y="690563"/>
                  <a:pt x="1264791" y="690563"/>
                </a:cubicBezTo>
                <a:cubicBezTo>
                  <a:pt x="1298216" y="690563"/>
                  <a:pt x="1325563" y="718067"/>
                  <a:pt x="1325563" y="751682"/>
                </a:cubicBezTo>
                <a:cubicBezTo>
                  <a:pt x="1325563" y="785298"/>
                  <a:pt x="1298216" y="812801"/>
                  <a:pt x="1264791" y="812801"/>
                </a:cubicBezTo>
                <a:cubicBezTo>
                  <a:pt x="502098" y="812801"/>
                  <a:pt x="502098" y="812801"/>
                  <a:pt x="502098" y="812801"/>
                </a:cubicBezTo>
                <a:cubicBezTo>
                  <a:pt x="468673" y="812801"/>
                  <a:pt x="441325" y="785298"/>
                  <a:pt x="441325" y="751682"/>
                </a:cubicBezTo>
                <a:cubicBezTo>
                  <a:pt x="441325" y="718067"/>
                  <a:pt x="468673" y="690563"/>
                  <a:pt x="502098" y="690563"/>
                </a:cubicBezTo>
                <a:close/>
                <a:moveTo>
                  <a:pt x="502153" y="454025"/>
                </a:moveTo>
                <a:cubicBezTo>
                  <a:pt x="994860" y="454025"/>
                  <a:pt x="994860" y="454025"/>
                  <a:pt x="994860" y="454025"/>
                </a:cubicBezTo>
                <a:cubicBezTo>
                  <a:pt x="1028316" y="454025"/>
                  <a:pt x="1055688" y="481171"/>
                  <a:pt x="1055688" y="514350"/>
                </a:cubicBezTo>
                <a:cubicBezTo>
                  <a:pt x="1055688" y="547529"/>
                  <a:pt x="1028316" y="574675"/>
                  <a:pt x="994860" y="574675"/>
                </a:cubicBezTo>
                <a:cubicBezTo>
                  <a:pt x="502153" y="574675"/>
                  <a:pt x="502153" y="574675"/>
                  <a:pt x="502153" y="574675"/>
                </a:cubicBezTo>
                <a:cubicBezTo>
                  <a:pt x="468698" y="574675"/>
                  <a:pt x="441325" y="547529"/>
                  <a:pt x="441325" y="514350"/>
                </a:cubicBezTo>
                <a:cubicBezTo>
                  <a:pt x="441325" y="481171"/>
                  <a:pt x="468698" y="454025"/>
                  <a:pt x="502153" y="454025"/>
                </a:cubicBezTo>
                <a:close/>
                <a:moveTo>
                  <a:pt x="1901273" y="207410"/>
                </a:moveTo>
                <a:lnTo>
                  <a:pt x="1901273" y="228534"/>
                </a:lnTo>
                <a:cubicBezTo>
                  <a:pt x="1901273" y="568878"/>
                  <a:pt x="1901273" y="568878"/>
                  <a:pt x="1901273" y="568878"/>
                </a:cubicBezTo>
                <a:cubicBezTo>
                  <a:pt x="2060034" y="568878"/>
                  <a:pt x="2169183" y="568878"/>
                  <a:pt x="2244222" y="568878"/>
                </a:cubicBezTo>
                <a:lnTo>
                  <a:pt x="2262740" y="568878"/>
                </a:lnTo>
                <a:close/>
                <a:moveTo>
                  <a:pt x="122238" y="122238"/>
                </a:moveTo>
                <a:lnTo>
                  <a:pt x="122238" y="3190876"/>
                </a:lnTo>
                <a:lnTo>
                  <a:pt x="2347913" y="3190876"/>
                </a:lnTo>
                <a:lnTo>
                  <a:pt x="2347913" y="690563"/>
                </a:lnTo>
                <a:lnTo>
                  <a:pt x="2309172" y="690563"/>
                </a:lnTo>
                <a:cubicBezTo>
                  <a:pt x="1840431" y="690563"/>
                  <a:pt x="1840431" y="690563"/>
                  <a:pt x="1840431" y="690563"/>
                </a:cubicBezTo>
                <a:cubicBezTo>
                  <a:pt x="1806967" y="690563"/>
                  <a:pt x="1779588" y="663184"/>
                  <a:pt x="1779588" y="629721"/>
                </a:cubicBezTo>
                <a:cubicBezTo>
                  <a:pt x="1779588" y="345281"/>
                  <a:pt x="1779588" y="203062"/>
                  <a:pt x="1779588" y="131952"/>
                </a:cubicBezTo>
                <a:lnTo>
                  <a:pt x="1779588" y="122238"/>
                </a:lnTo>
                <a:close/>
                <a:moveTo>
                  <a:pt x="60841" y="0"/>
                </a:moveTo>
                <a:cubicBezTo>
                  <a:pt x="1617994" y="0"/>
                  <a:pt x="1812638" y="0"/>
                  <a:pt x="1836968" y="0"/>
                </a:cubicBezTo>
                <a:lnTo>
                  <a:pt x="1840430" y="0"/>
                </a:lnTo>
                <a:lnTo>
                  <a:pt x="1840431" y="0"/>
                </a:lnTo>
                <a:lnTo>
                  <a:pt x="1840431" y="0"/>
                </a:lnTo>
                <a:lnTo>
                  <a:pt x="1840444" y="0"/>
                </a:lnTo>
                <a:cubicBezTo>
                  <a:pt x="1849571" y="0"/>
                  <a:pt x="1857936" y="1521"/>
                  <a:pt x="1865161" y="4562"/>
                </a:cubicBezTo>
                <a:lnTo>
                  <a:pt x="1876125" y="12957"/>
                </a:lnTo>
                <a:lnTo>
                  <a:pt x="1883401" y="17873"/>
                </a:lnTo>
                <a:lnTo>
                  <a:pt x="1884922" y="20124"/>
                </a:lnTo>
                <a:lnTo>
                  <a:pt x="1983703" y="118342"/>
                </a:lnTo>
                <a:cubicBezTo>
                  <a:pt x="2454940" y="586891"/>
                  <a:pt x="2454940" y="586891"/>
                  <a:pt x="2454940" y="586891"/>
                </a:cubicBezTo>
                <a:lnTo>
                  <a:pt x="2463504" y="602537"/>
                </a:lnTo>
                <a:lnTo>
                  <a:pt x="2465778" y="606097"/>
                </a:lnTo>
                <a:lnTo>
                  <a:pt x="2465945" y="606995"/>
                </a:lnTo>
                <a:lnTo>
                  <a:pt x="2465968" y="607037"/>
                </a:lnTo>
                <a:cubicBezTo>
                  <a:pt x="2468629" y="614259"/>
                  <a:pt x="2470150" y="621862"/>
                  <a:pt x="2470150" y="629464"/>
                </a:cubicBezTo>
                <a:lnTo>
                  <a:pt x="2470150" y="629715"/>
                </a:lnTo>
                <a:lnTo>
                  <a:pt x="2470151" y="629721"/>
                </a:lnTo>
                <a:lnTo>
                  <a:pt x="2470150" y="629726"/>
                </a:lnTo>
                <a:lnTo>
                  <a:pt x="2470150" y="867606"/>
                </a:lnTo>
                <a:cubicBezTo>
                  <a:pt x="2470150" y="3250707"/>
                  <a:pt x="2470150" y="3250707"/>
                  <a:pt x="2470150" y="3250707"/>
                </a:cubicBezTo>
                <a:cubicBezTo>
                  <a:pt x="2470150" y="3284157"/>
                  <a:pt x="2445814" y="3311525"/>
                  <a:pt x="2409309" y="3311525"/>
                </a:cubicBezTo>
                <a:cubicBezTo>
                  <a:pt x="60841" y="3311525"/>
                  <a:pt x="60841" y="3311525"/>
                  <a:pt x="60841" y="3311525"/>
                </a:cubicBezTo>
                <a:cubicBezTo>
                  <a:pt x="27379" y="3311525"/>
                  <a:pt x="0" y="3284157"/>
                  <a:pt x="0" y="3250707"/>
                </a:cubicBezTo>
                <a:cubicBezTo>
                  <a:pt x="0" y="60818"/>
                  <a:pt x="0" y="60818"/>
                  <a:pt x="0" y="60818"/>
                </a:cubicBezTo>
                <a:cubicBezTo>
                  <a:pt x="0" y="27368"/>
                  <a:pt x="27379" y="0"/>
                  <a:pt x="60841" y="0"/>
                </a:cubicBezTo>
                <a:close/>
              </a:path>
            </a:pathLst>
          </a:custGeom>
          <a:solidFill>
            <a:schemeClr val="tx1"/>
          </a:solidFill>
          <a:ln>
            <a:noFill/>
          </a:ln>
        </p:spPr>
        <p:txBody>
          <a:bodyPr vert="horz" wrap="square" lIns="91427" tIns="45713" rIns="91427" bIns="45713" numCol="1" anchor="t" anchorCtr="0" compatLnSpc="1">
            <a:prstTxWarp prst="textNoShape">
              <a:avLst/>
            </a:prstTxWarp>
            <a:noAutofit/>
          </a:bodyPr>
          <a:lstStyle/>
          <a:p>
            <a:pPr defTabSz="914367"/>
            <a:endParaRPr lang="en-US">
              <a:solidFill>
                <a:srgbClr val="353535"/>
              </a:solidFill>
              <a:latin typeface="Segoe UI Semilight"/>
            </a:endParaRPr>
          </a:p>
        </p:txBody>
      </p:sp>
      <p:grpSp>
        <p:nvGrpSpPr>
          <p:cNvPr id="77" name="Group 76"/>
          <p:cNvGrpSpPr/>
          <p:nvPr/>
        </p:nvGrpSpPr>
        <p:grpSpPr>
          <a:xfrm>
            <a:off x="720758" y="5304937"/>
            <a:ext cx="145241" cy="278494"/>
            <a:chOff x="4397982" y="3362373"/>
            <a:chExt cx="2038350" cy="3908425"/>
          </a:xfrm>
          <a:solidFill>
            <a:schemeClr val="tx1"/>
          </a:solidFill>
        </p:grpSpPr>
        <p:sp>
          <p:nvSpPr>
            <p:cNvPr id="78" name="Freeform 51"/>
            <p:cNvSpPr>
              <a:spLocks noEditPoints="1"/>
            </p:cNvSpPr>
            <p:nvPr/>
          </p:nvSpPr>
          <p:spPr bwMode="auto">
            <a:xfrm>
              <a:off x="4397982" y="3362373"/>
              <a:ext cx="2038350" cy="3908425"/>
            </a:xfrm>
            <a:custGeom>
              <a:avLst/>
              <a:gdLst>
                <a:gd name="T0" fmla="*/ 505 w 542"/>
                <a:gd name="T1" fmla="*/ 0 h 1044"/>
                <a:gd name="T2" fmla="*/ 36 w 542"/>
                <a:gd name="T3" fmla="*/ 0 h 1044"/>
                <a:gd name="T4" fmla="*/ 0 w 542"/>
                <a:gd name="T5" fmla="*/ 37 h 1044"/>
                <a:gd name="T6" fmla="*/ 0 w 542"/>
                <a:gd name="T7" fmla="*/ 1007 h 1044"/>
                <a:gd name="T8" fmla="*/ 36 w 542"/>
                <a:gd name="T9" fmla="*/ 1044 h 1044"/>
                <a:gd name="T10" fmla="*/ 505 w 542"/>
                <a:gd name="T11" fmla="*/ 1044 h 1044"/>
                <a:gd name="T12" fmla="*/ 542 w 542"/>
                <a:gd name="T13" fmla="*/ 1007 h 1044"/>
                <a:gd name="T14" fmla="*/ 542 w 542"/>
                <a:gd name="T15" fmla="*/ 37 h 1044"/>
                <a:gd name="T16" fmla="*/ 505 w 542"/>
                <a:gd name="T17" fmla="*/ 0 h 1044"/>
                <a:gd name="T18" fmla="*/ 506 w 542"/>
                <a:gd name="T19" fmla="*/ 1007 h 1044"/>
                <a:gd name="T20" fmla="*/ 505 w 542"/>
                <a:gd name="T21" fmla="*/ 1008 h 1044"/>
                <a:gd name="T22" fmla="*/ 36 w 542"/>
                <a:gd name="T23" fmla="*/ 1008 h 1044"/>
                <a:gd name="T24" fmla="*/ 36 w 542"/>
                <a:gd name="T25" fmla="*/ 1007 h 1044"/>
                <a:gd name="T26" fmla="*/ 36 w 542"/>
                <a:gd name="T27" fmla="*/ 37 h 1044"/>
                <a:gd name="T28" fmla="*/ 36 w 542"/>
                <a:gd name="T29" fmla="*/ 36 h 1044"/>
                <a:gd name="T30" fmla="*/ 505 w 542"/>
                <a:gd name="T31" fmla="*/ 36 h 1044"/>
                <a:gd name="T32" fmla="*/ 506 w 542"/>
                <a:gd name="T33" fmla="*/ 37 h 1044"/>
                <a:gd name="T34" fmla="*/ 506 w 542"/>
                <a:gd name="T35" fmla="*/ 1007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2" h="1044">
                  <a:moveTo>
                    <a:pt x="505" y="0"/>
                  </a:moveTo>
                  <a:cubicBezTo>
                    <a:pt x="36" y="0"/>
                    <a:pt x="36" y="0"/>
                    <a:pt x="36" y="0"/>
                  </a:cubicBezTo>
                  <a:cubicBezTo>
                    <a:pt x="16" y="0"/>
                    <a:pt x="0" y="16"/>
                    <a:pt x="0" y="37"/>
                  </a:cubicBezTo>
                  <a:cubicBezTo>
                    <a:pt x="0" y="1007"/>
                    <a:pt x="0" y="1007"/>
                    <a:pt x="0" y="1007"/>
                  </a:cubicBezTo>
                  <a:cubicBezTo>
                    <a:pt x="0" y="1028"/>
                    <a:pt x="16" y="1044"/>
                    <a:pt x="36" y="1044"/>
                  </a:cubicBezTo>
                  <a:cubicBezTo>
                    <a:pt x="505" y="1044"/>
                    <a:pt x="505" y="1044"/>
                    <a:pt x="505" y="1044"/>
                  </a:cubicBezTo>
                  <a:cubicBezTo>
                    <a:pt x="525" y="1044"/>
                    <a:pt x="542" y="1028"/>
                    <a:pt x="542" y="1007"/>
                  </a:cubicBezTo>
                  <a:cubicBezTo>
                    <a:pt x="542" y="37"/>
                    <a:pt x="542" y="37"/>
                    <a:pt x="542" y="37"/>
                  </a:cubicBezTo>
                  <a:cubicBezTo>
                    <a:pt x="542" y="16"/>
                    <a:pt x="525" y="0"/>
                    <a:pt x="505" y="0"/>
                  </a:cubicBezTo>
                  <a:close/>
                  <a:moveTo>
                    <a:pt x="506" y="1007"/>
                  </a:moveTo>
                  <a:cubicBezTo>
                    <a:pt x="506" y="1008"/>
                    <a:pt x="505" y="1008"/>
                    <a:pt x="505" y="1008"/>
                  </a:cubicBezTo>
                  <a:cubicBezTo>
                    <a:pt x="36" y="1008"/>
                    <a:pt x="36" y="1008"/>
                    <a:pt x="36" y="1008"/>
                  </a:cubicBezTo>
                  <a:cubicBezTo>
                    <a:pt x="36" y="1008"/>
                    <a:pt x="36" y="1008"/>
                    <a:pt x="36" y="1007"/>
                  </a:cubicBezTo>
                  <a:cubicBezTo>
                    <a:pt x="36" y="37"/>
                    <a:pt x="36" y="37"/>
                    <a:pt x="36" y="37"/>
                  </a:cubicBezTo>
                  <a:cubicBezTo>
                    <a:pt x="36" y="36"/>
                    <a:pt x="36" y="36"/>
                    <a:pt x="36" y="36"/>
                  </a:cubicBezTo>
                  <a:cubicBezTo>
                    <a:pt x="505" y="36"/>
                    <a:pt x="505" y="36"/>
                    <a:pt x="505" y="36"/>
                  </a:cubicBezTo>
                  <a:cubicBezTo>
                    <a:pt x="505" y="36"/>
                    <a:pt x="506" y="36"/>
                    <a:pt x="506" y="37"/>
                  </a:cubicBezTo>
                  <a:lnTo>
                    <a:pt x="506" y="1007"/>
                  </a:lnTo>
                  <a:close/>
                </a:path>
              </a:pathLst>
            </a:custGeom>
            <a:grpFill/>
            <a:ln>
              <a:noFill/>
            </a:ln>
          </p:spPr>
          <p:txBody>
            <a:bodyPr vert="horz" wrap="square" lIns="91427" tIns="0" rIns="91427" bIns="45713" numCol="1" anchor="ctr" anchorCtr="0" compatLnSpc="1">
              <a:prstTxWarp prst="textNoShape">
                <a:avLst/>
              </a:prstTxWarp>
            </a:bodyPr>
            <a:lstStyle/>
            <a:p>
              <a:pPr defTabSz="914367"/>
              <a:endParaRPr lang="en-US">
                <a:solidFill>
                  <a:srgbClr val="353535"/>
                </a:solidFill>
                <a:latin typeface="Segoe UI Semilight"/>
              </a:endParaRPr>
            </a:p>
          </p:txBody>
        </p:sp>
        <p:sp>
          <p:nvSpPr>
            <p:cNvPr id="79" name="Freeform 52"/>
            <p:cNvSpPr>
              <a:spLocks noEditPoints="1"/>
            </p:cNvSpPr>
            <p:nvPr/>
          </p:nvSpPr>
          <p:spPr bwMode="auto">
            <a:xfrm>
              <a:off x="4612295" y="3800523"/>
              <a:ext cx="1601788" cy="2935288"/>
            </a:xfrm>
            <a:custGeom>
              <a:avLst/>
              <a:gdLst>
                <a:gd name="T0" fmla="*/ 426 w 426"/>
                <a:gd name="T1" fmla="*/ 753 h 784"/>
                <a:gd name="T2" fmla="*/ 395 w 426"/>
                <a:gd name="T3" fmla="*/ 0 h 784"/>
                <a:gd name="T4" fmla="*/ 0 w 426"/>
                <a:gd name="T5" fmla="*/ 31 h 784"/>
                <a:gd name="T6" fmla="*/ 31 w 426"/>
                <a:gd name="T7" fmla="*/ 784 h 784"/>
                <a:gd name="T8" fmla="*/ 390 w 426"/>
                <a:gd name="T9" fmla="*/ 131 h 784"/>
                <a:gd name="T10" fmla="*/ 232 w 426"/>
                <a:gd name="T11" fmla="*/ 277 h 784"/>
                <a:gd name="T12" fmla="*/ 390 w 426"/>
                <a:gd name="T13" fmla="*/ 131 h 784"/>
                <a:gd name="T14" fmla="*/ 36 w 426"/>
                <a:gd name="T15" fmla="*/ 498 h 784"/>
                <a:gd name="T16" fmla="*/ 196 w 426"/>
                <a:gd name="T17" fmla="*/ 653 h 784"/>
                <a:gd name="T18" fmla="*/ 36 w 426"/>
                <a:gd name="T19" fmla="*/ 653 h 784"/>
                <a:gd name="T20" fmla="*/ 36 w 426"/>
                <a:gd name="T21" fmla="*/ 689 h 784"/>
                <a:gd name="T22" fmla="*/ 102 w 426"/>
                <a:gd name="T23" fmla="*/ 744 h 784"/>
                <a:gd name="T24" fmla="*/ 36 w 426"/>
                <a:gd name="T25" fmla="*/ 689 h 784"/>
                <a:gd name="T26" fmla="*/ 138 w 426"/>
                <a:gd name="T27" fmla="*/ 689 h 784"/>
                <a:gd name="T28" fmla="*/ 196 w 426"/>
                <a:gd name="T29" fmla="*/ 744 h 784"/>
                <a:gd name="T30" fmla="*/ 138 w 426"/>
                <a:gd name="T31" fmla="*/ 689 h 784"/>
                <a:gd name="T32" fmla="*/ 289 w 426"/>
                <a:gd name="T33" fmla="*/ 689 h 784"/>
                <a:gd name="T34" fmla="*/ 232 w 426"/>
                <a:gd name="T35" fmla="*/ 744 h 784"/>
                <a:gd name="T36" fmla="*/ 232 w 426"/>
                <a:gd name="T37" fmla="*/ 653 h 784"/>
                <a:gd name="T38" fmla="*/ 390 w 426"/>
                <a:gd name="T39" fmla="*/ 498 h 784"/>
                <a:gd name="T40" fmla="*/ 232 w 426"/>
                <a:gd name="T41" fmla="*/ 653 h 784"/>
                <a:gd name="T42" fmla="*/ 36 w 426"/>
                <a:gd name="T43" fmla="*/ 462 h 784"/>
                <a:gd name="T44" fmla="*/ 36 w 426"/>
                <a:gd name="T45" fmla="*/ 313 h 784"/>
                <a:gd name="T46" fmla="*/ 390 w 426"/>
                <a:gd name="T47" fmla="*/ 313 h 784"/>
                <a:gd name="T48" fmla="*/ 196 w 426"/>
                <a:gd name="T49" fmla="*/ 277 h 784"/>
                <a:gd name="T50" fmla="*/ 137 w 426"/>
                <a:gd name="T51" fmla="*/ 220 h 784"/>
                <a:gd name="T52" fmla="*/ 196 w 426"/>
                <a:gd name="T53" fmla="*/ 277 h 784"/>
                <a:gd name="T54" fmla="*/ 36 w 426"/>
                <a:gd name="T55" fmla="*/ 277 h 784"/>
                <a:gd name="T56" fmla="*/ 36 w 426"/>
                <a:gd name="T57" fmla="*/ 220 h 784"/>
                <a:gd name="T58" fmla="*/ 101 w 426"/>
                <a:gd name="T59" fmla="*/ 220 h 784"/>
                <a:gd name="T60" fmla="*/ 325 w 426"/>
                <a:gd name="T61" fmla="*/ 744 h 784"/>
                <a:gd name="T62" fmla="*/ 390 w 426"/>
                <a:gd name="T63" fmla="*/ 689 h 784"/>
                <a:gd name="T64" fmla="*/ 325 w 426"/>
                <a:gd name="T65" fmla="*/ 744 h 784"/>
                <a:gd name="T66" fmla="*/ 137 w 426"/>
                <a:gd name="T67" fmla="*/ 184 h 784"/>
                <a:gd name="T68" fmla="*/ 196 w 426"/>
                <a:gd name="T69" fmla="*/ 131 h 784"/>
                <a:gd name="T70" fmla="*/ 101 w 426"/>
                <a:gd name="T71" fmla="*/ 184 h 784"/>
                <a:gd name="T72" fmla="*/ 36 w 426"/>
                <a:gd name="T73" fmla="*/ 184 h 784"/>
                <a:gd name="T74" fmla="*/ 101 w 426"/>
                <a:gd name="T75" fmla="*/ 131 h 784"/>
                <a:gd name="T76" fmla="*/ 390 w 426"/>
                <a:gd name="T77" fmla="*/ 36 h 784"/>
                <a:gd name="T78" fmla="*/ 36 w 426"/>
                <a:gd name="T79" fmla="*/ 95 h 784"/>
                <a:gd name="T80" fmla="*/ 390 w 426"/>
                <a:gd name="T81" fmla="*/ 36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6" h="784">
                  <a:moveTo>
                    <a:pt x="395" y="784"/>
                  </a:moveTo>
                  <a:cubicBezTo>
                    <a:pt x="412" y="784"/>
                    <a:pt x="426" y="770"/>
                    <a:pt x="426" y="753"/>
                  </a:cubicBezTo>
                  <a:cubicBezTo>
                    <a:pt x="426" y="31"/>
                    <a:pt x="426" y="31"/>
                    <a:pt x="426" y="31"/>
                  </a:cubicBezTo>
                  <a:cubicBezTo>
                    <a:pt x="426" y="14"/>
                    <a:pt x="412" y="0"/>
                    <a:pt x="395" y="0"/>
                  </a:cubicBezTo>
                  <a:cubicBezTo>
                    <a:pt x="31" y="0"/>
                    <a:pt x="31" y="0"/>
                    <a:pt x="31" y="0"/>
                  </a:cubicBezTo>
                  <a:cubicBezTo>
                    <a:pt x="14" y="0"/>
                    <a:pt x="0" y="14"/>
                    <a:pt x="0" y="31"/>
                  </a:cubicBezTo>
                  <a:cubicBezTo>
                    <a:pt x="0" y="753"/>
                    <a:pt x="0" y="753"/>
                    <a:pt x="0" y="753"/>
                  </a:cubicBezTo>
                  <a:cubicBezTo>
                    <a:pt x="0" y="770"/>
                    <a:pt x="14" y="784"/>
                    <a:pt x="31" y="784"/>
                  </a:cubicBezTo>
                  <a:lnTo>
                    <a:pt x="395" y="784"/>
                  </a:lnTo>
                  <a:close/>
                  <a:moveTo>
                    <a:pt x="390" y="131"/>
                  </a:moveTo>
                  <a:cubicBezTo>
                    <a:pt x="390" y="277"/>
                    <a:pt x="390" y="277"/>
                    <a:pt x="390" y="277"/>
                  </a:cubicBezTo>
                  <a:cubicBezTo>
                    <a:pt x="232" y="277"/>
                    <a:pt x="232" y="277"/>
                    <a:pt x="232" y="277"/>
                  </a:cubicBezTo>
                  <a:cubicBezTo>
                    <a:pt x="232" y="131"/>
                    <a:pt x="232" y="131"/>
                    <a:pt x="232" y="131"/>
                  </a:cubicBezTo>
                  <a:lnTo>
                    <a:pt x="390" y="131"/>
                  </a:lnTo>
                  <a:close/>
                  <a:moveTo>
                    <a:pt x="36" y="498"/>
                  </a:moveTo>
                  <a:cubicBezTo>
                    <a:pt x="36" y="498"/>
                    <a:pt x="36" y="498"/>
                    <a:pt x="36" y="498"/>
                  </a:cubicBezTo>
                  <a:cubicBezTo>
                    <a:pt x="196" y="498"/>
                    <a:pt x="196" y="498"/>
                    <a:pt x="196" y="498"/>
                  </a:cubicBezTo>
                  <a:cubicBezTo>
                    <a:pt x="196" y="653"/>
                    <a:pt x="196" y="653"/>
                    <a:pt x="196" y="653"/>
                  </a:cubicBezTo>
                  <a:cubicBezTo>
                    <a:pt x="36" y="653"/>
                    <a:pt x="36" y="653"/>
                    <a:pt x="36" y="653"/>
                  </a:cubicBezTo>
                  <a:cubicBezTo>
                    <a:pt x="36" y="653"/>
                    <a:pt x="36" y="653"/>
                    <a:pt x="36" y="653"/>
                  </a:cubicBezTo>
                  <a:lnTo>
                    <a:pt x="36" y="498"/>
                  </a:lnTo>
                  <a:close/>
                  <a:moveTo>
                    <a:pt x="36" y="689"/>
                  </a:moveTo>
                  <a:cubicBezTo>
                    <a:pt x="102" y="689"/>
                    <a:pt x="102" y="689"/>
                    <a:pt x="102" y="689"/>
                  </a:cubicBezTo>
                  <a:cubicBezTo>
                    <a:pt x="102" y="744"/>
                    <a:pt x="102" y="744"/>
                    <a:pt x="102" y="744"/>
                  </a:cubicBezTo>
                  <a:cubicBezTo>
                    <a:pt x="36" y="744"/>
                    <a:pt x="36" y="744"/>
                    <a:pt x="36" y="744"/>
                  </a:cubicBezTo>
                  <a:cubicBezTo>
                    <a:pt x="36" y="689"/>
                    <a:pt x="36" y="689"/>
                    <a:pt x="36" y="689"/>
                  </a:cubicBezTo>
                  <a:cubicBezTo>
                    <a:pt x="36" y="689"/>
                    <a:pt x="36" y="689"/>
                    <a:pt x="36" y="689"/>
                  </a:cubicBezTo>
                  <a:close/>
                  <a:moveTo>
                    <a:pt x="138" y="689"/>
                  </a:moveTo>
                  <a:cubicBezTo>
                    <a:pt x="196" y="689"/>
                    <a:pt x="196" y="689"/>
                    <a:pt x="196" y="689"/>
                  </a:cubicBezTo>
                  <a:cubicBezTo>
                    <a:pt x="196" y="744"/>
                    <a:pt x="196" y="744"/>
                    <a:pt x="196" y="744"/>
                  </a:cubicBezTo>
                  <a:cubicBezTo>
                    <a:pt x="138" y="744"/>
                    <a:pt x="138" y="744"/>
                    <a:pt x="138" y="744"/>
                  </a:cubicBezTo>
                  <a:lnTo>
                    <a:pt x="138" y="689"/>
                  </a:lnTo>
                  <a:close/>
                  <a:moveTo>
                    <a:pt x="232" y="689"/>
                  </a:moveTo>
                  <a:cubicBezTo>
                    <a:pt x="289" y="689"/>
                    <a:pt x="289" y="689"/>
                    <a:pt x="289" y="689"/>
                  </a:cubicBezTo>
                  <a:cubicBezTo>
                    <a:pt x="289" y="744"/>
                    <a:pt x="289" y="744"/>
                    <a:pt x="289" y="744"/>
                  </a:cubicBezTo>
                  <a:cubicBezTo>
                    <a:pt x="232" y="744"/>
                    <a:pt x="232" y="744"/>
                    <a:pt x="232" y="744"/>
                  </a:cubicBezTo>
                  <a:lnTo>
                    <a:pt x="232" y="689"/>
                  </a:lnTo>
                  <a:close/>
                  <a:moveTo>
                    <a:pt x="232" y="653"/>
                  </a:moveTo>
                  <a:cubicBezTo>
                    <a:pt x="232" y="498"/>
                    <a:pt x="232" y="498"/>
                    <a:pt x="232" y="498"/>
                  </a:cubicBezTo>
                  <a:cubicBezTo>
                    <a:pt x="390" y="498"/>
                    <a:pt x="390" y="498"/>
                    <a:pt x="390" y="498"/>
                  </a:cubicBezTo>
                  <a:cubicBezTo>
                    <a:pt x="390" y="653"/>
                    <a:pt x="390" y="653"/>
                    <a:pt x="390" y="653"/>
                  </a:cubicBezTo>
                  <a:lnTo>
                    <a:pt x="232" y="653"/>
                  </a:lnTo>
                  <a:close/>
                  <a:moveTo>
                    <a:pt x="390" y="462"/>
                  </a:moveTo>
                  <a:cubicBezTo>
                    <a:pt x="36" y="462"/>
                    <a:pt x="36" y="462"/>
                    <a:pt x="36" y="462"/>
                  </a:cubicBezTo>
                  <a:cubicBezTo>
                    <a:pt x="36" y="462"/>
                    <a:pt x="36" y="462"/>
                    <a:pt x="36" y="462"/>
                  </a:cubicBezTo>
                  <a:cubicBezTo>
                    <a:pt x="36" y="313"/>
                    <a:pt x="36" y="313"/>
                    <a:pt x="36" y="313"/>
                  </a:cubicBezTo>
                  <a:cubicBezTo>
                    <a:pt x="36" y="313"/>
                    <a:pt x="36" y="313"/>
                    <a:pt x="36" y="313"/>
                  </a:cubicBezTo>
                  <a:cubicBezTo>
                    <a:pt x="390" y="313"/>
                    <a:pt x="390" y="313"/>
                    <a:pt x="390" y="313"/>
                  </a:cubicBezTo>
                  <a:lnTo>
                    <a:pt x="390" y="462"/>
                  </a:lnTo>
                  <a:close/>
                  <a:moveTo>
                    <a:pt x="196" y="277"/>
                  </a:moveTo>
                  <a:cubicBezTo>
                    <a:pt x="137" y="277"/>
                    <a:pt x="137" y="277"/>
                    <a:pt x="137" y="277"/>
                  </a:cubicBezTo>
                  <a:cubicBezTo>
                    <a:pt x="137" y="220"/>
                    <a:pt x="137" y="220"/>
                    <a:pt x="137" y="220"/>
                  </a:cubicBezTo>
                  <a:cubicBezTo>
                    <a:pt x="196" y="220"/>
                    <a:pt x="196" y="220"/>
                    <a:pt x="196" y="220"/>
                  </a:cubicBezTo>
                  <a:lnTo>
                    <a:pt x="196" y="277"/>
                  </a:lnTo>
                  <a:close/>
                  <a:moveTo>
                    <a:pt x="101" y="277"/>
                  </a:moveTo>
                  <a:cubicBezTo>
                    <a:pt x="36" y="277"/>
                    <a:pt x="36" y="277"/>
                    <a:pt x="36" y="277"/>
                  </a:cubicBezTo>
                  <a:cubicBezTo>
                    <a:pt x="36" y="277"/>
                    <a:pt x="36" y="277"/>
                    <a:pt x="36" y="277"/>
                  </a:cubicBezTo>
                  <a:cubicBezTo>
                    <a:pt x="36" y="220"/>
                    <a:pt x="36" y="220"/>
                    <a:pt x="36" y="220"/>
                  </a:cubicBezTo>
                  <a:cubicBezTo>
                    <a:pt x="36" y="220"/>
                    <a:pt x="36" y="220"/>
                    <a:pt x="36" y="220"/>
                  </a:cubicBezTo>
                  <a:cubicBezTo>
                    <a:pt x="101" y="220"/>
                    <a:pt x="101" y="220"/>
                    <a:pt x="101" y="220"/>
                  </a:cubicBezTo>
                  <a:lnTo>
                    <a:pt x="101" y="277"/>
                  </a:lnTo>
                  <a:close/>
                  <a:moveTo>
                    <a:pt x="325" y="744"/>
                  </a:moveTo>
                  <a:cubicBezTo>
                    <a:pt x="325" y="689"/>
                    <a:pt x="325" y="689"/>
                    <a:pt x="325" y="689"/>
                  </a:cubicBezTo>
                  <a:cubicBezTo>
                    <a:pt x="390" y="689"/>
                    <a:pt x="390" y="689"/>
                    <a:pt x="390" y="689"/>
                  </a:cubicBezTo>
                  <a:cubicBezTo>
                    <a:pt x="390" y="744"/>
                    <a:pt x="390" y="744"/>
                    <a:pt x="390" y="744"/>
                  </a:cubicBezTo>
                  <a:lnTo>
                    <a:pt x="325" y="744"/>
                  </a:lnTo>
                  <a:close/>
                  <a:moveTo>
                    <a:pt x="196" y="184"/>
                  </a:moveTo>
                  <a:cubicBezTo>
                    <a:pt x="137" y="184"/>
                    <a:pt x="137" y="184"/>
                    <a:pt x="137" y="184"/>
                  </a:cubicBezTo>
                  <a:cubicBezTo>
                    <a:pt x="137" y="131"/>
                    <a:pt x="137" y="131"/>
                    <a:pt x="137" y="131"/>
                  </a:cubicBezTo>
                  <a:cubicBezTo>
                    <a:pt x="196" y="131"/>
                    <a:pt x="196" y="131"/>
                    <a:pt x="196" y="131"/>
                  </a:cubicBezTo>
                  <a:lnTo>
                    <a:pt x="196" y="184"/>
                  </a:lnTo>
                  <a:close/>
                  <a:moveTo>
                    <a:pt x="101" y="184"/>
                  </a:moveTo>
                  <a:cubicBezTo>
                    <a:pt x="36" y="184"/>
                    <a:pt x="36" y="184"/>
                    <a:pt x="36" y="184"/>
                  </a:cubicBezTo>
                  <a:cubicBezTo>
                    <a:pt x="36" y="184"/>
                    <a:pt x="36" y="184"/>
                    <a:pt x="36" y="184"/>
                  </a:cubicBezTo>
                  <a:cubicBezTo>
                    <a:pt x="36" y="131"/>
                    <a:pt x="36" y="131"/>
                    <a:pt x="36" y="131"/>
                  </a:cubicBezTo>
                  <a:cubicBezTo>
                    <a:pt x="101" y="131"/>
                    <a:pt x="101" y="131"/>
                    <a:pt x="101" y="131"/>
                  </a:cubicBezTo>
                  <a:lnTo>
                    <a:pt x="101" y="184"/>
                  </a:lnTo>
                  <a:close/>
                  <a:moveTo>
                    <a:pt x="390" y="36"/>
                  </a:moveTo>
                  <a:cubicBezTo>
                    <a:pt x="390" y="95"/>
                    <a:pt x="390" y="95"/>
                    <a:pt x="390" y="95"/>
                  </a:cubicBezTo>
                  <a:cubicBezTo>
                    <a:pt x="36" y="95"/>
                    <a:pt x="36" y="95"/>
                    <a:pt x="36" y="95"/>
                  </a:cubicBezTo>
                  <a:cubicBezTo>
                    <a:pt x="36" y="36"/>
                    <a:pt x="36" y="36"/>
                    <a:pt x="36" y="36"/>
                  </a:cubicBezTo>
                  <a:lnTo>
                    <a:pt x="390" y="36"/>
                  </a:lnTo>
                  <a:close/>
                </a:path>
              </a:pathLst>
            </a:custGeom>
            <a:grpFill/>
            <a:ln>
              <a:noFill/>
            </a:ln>
          </p:spPr>
          <p:txBody>
            <a:bodyPr vert="horz" wrap="square" lIns="91427" tIns="0" rIns="91427" bIns="45713" numCol="1" anchor="ctr" anchorCtr="0" compatLnSpc="1">
              <a:prstTxWarp prst="textNoShape">
                <a:avLst/>
              </a:prstTxWarp>
            </a:bodyPr>
            <a:lstStyle/>
            <a:p>
              <a:pPr defTabSz="914367"/>
              <a:endParaRPr lang="en-US">
                <a:solidFill>
                  <a:srgbClr val="353535"/>
                </a:solidFill>
                <a:latin typeface="Segoe UI Semilight"/>
              </a:endParaRPr>
            </a:p>
          </p:txBody>
        </p:sp>
        <p:sp>
          <p:nvSpPr>
            <p:cNvPr id="80" name="Freeform 53"/>
            <p:cNvSpPr>
              <a:spLocks/>
            </p:cNvSpPr>
            <p:nvPr/>
          </p:nvSpPr>
          <p:spPr bwMode="auto">
            <a:xfrm>
              <a:off x="4656745" y="6810423"/>
              <a:ext cx="285750" cy="239713"/>
            </a:xfrm>
            <a:custGeom>
              <a:avLst/>
              <a:gdLst>
                <a:gd name="T0" fmla="*/ 66 w 76"/>
                <a:gd name="T1" fmla="*/ 23 h 64"/>
                <a:gd name="T2" fmla="*/ 33 w 76"/>
                <a:gd name="T3" fmla="*/ 23 h 64"/>
                <a:gd name="T4" fmla="*/ 39 w 76"/>
                <a:gd name="T5" fmla="*/ 16 h 64"/>
                <a:gd name="T6" fmla="*/ 39 w 76"/>
                <a:gd name="T7" fmla="*/ 3 h 64"/>
                <a:gd name="T8" fmla="*/ 26 w 76"/>
                <a:gd name="T9" fmla="*/ 3 h 64"/>
                <a:gd name="T10" fmla="*/ 4 w 76"/>
                <a:gd name="T11" fmla="*/ 26 h 64"/>
                <a:gd name="T12" fmla="*/ 4 w 76"/>
                <a:gd name="T13" fmla="*/ 39 h 64"/>
                <a:gd name="T14" fmla="*/ 26 w 76"/>
                <a:gd name="T15" fmla="*/ 61 h 64"/>
                <a:gd name="T16" fmla="*/ 33 w 76"/>
                <a:gd name="T17" fmla="*/ 64 h 64"/>
                <a:gd name="T18" fmla="*/ 39 w 76"/>
                <a:gd name="T19" fmla="*/ 61 h 64"/>
                <a:gd name="T20" fmla="*/ 39 w 76"/>
                <a:gd name="T21" fmla="*/ 48 h 64"/>
                <a:gd name="T22" fmla="*/ 33 w 76"/>
                <a:gd name="T23" fmla="*/ 42 h 64"/>
                <a:gd name="T24" fmla="*/ 66 w 76"/>
                <a:gd name="T25" fmla="*/ 42 h 64"/>
                <a:gd name="T26" fmla="*/ 76 w 76"/>
                <a:gd name="T27" fmla="*/ 32 h 64"/>
                <a:gd name="T28" fmla="*/ 66 w 76"/>
                <a:gd name="T29" fmla="*/ 2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64">
                  <a:moveTo>
                    <a:pt x="66" y="23"/>
                  </a:moveTo>
                  <a:cubicBezTo>
                    <a:pt x="33" y="23"/>
                    <a:pt x="33" y="23"/>
                    <a:pt x="33" y="23"/>
                  </a:cubicBezTo>
                  <a:cubicBezTo>
                    <a:pt x="39" y="16"/>
                    <a:pt x="39" y="16"/>
                    <a:pt x="39" y="16"/>
                  </a:cubicBezTo>
                  <a:cubicBezTo>
                    <a:pt x="43" y="13"/>
                    <a:pt x="43" y="7"/>
                    <a:pt x="39" y="3"/>
                  </a:cubicBezTo>
                  <a:cubicBezTo>
                    <a:pt x="36" y="0"/>
                    <a:pt x="30" y="0"/>
                    <a:pt x="26" y="3"/>
                  </a:cubicBezTo>
                  <a:cubicBezTo>
                    <a:pt x="4" y="26"/>
                    <a:pt x="4" y="26"/>
                    <a:pt x="4" y="26"/>
                  </a:cubicBezTo>
                  <a:cubicBezTo>
                    <a:pt x="0" y="29"/>
                    <a:pt x="0" y="35"/>
                    <a:pt x="4" y="39"/>
                  </a:cubicBezTo>
                  <a:cubicBezTo>
                    <a:pt x="26" y="61"/>
                    <a:pt x="26" y="61"/>
                    <a:pt x="26" y="61"/>
                  </a:cubicBezTo>
                  <a:cubicBezTo>
                    <a:pt x="28" y="63"/>
                    <a:pt x="30" y="64"/>
                    <a:pt x="33" y="64"/>
                  </a:cubicBezTo>
                  <a:cubicBezTo>
                    <a:pt x="35" y="64"/>
                    <a:pt x="38" y="63"/>
                    <a:pt x="39" y="61"/>
                  </a:cubicBezTo>
                  <a:cubicBezTo>
                    <a:pt x="43" y="58"/>
                    <a:pt x="43" y="52"/>
                    <a:pt x="39" y="48"/>
                  </a:cubicBezTo>
                  <a:cubicBezTo>
                    <a:pt x="33" y="42"/>
                    <a:pt x="33" y="42"/>
                    <a:pt x="33" y="42"/>
                  </a:cubicBezTo>
                  <a:cubicBezTo>
                    <a:pt x="66" y="42"/>
                    <a:pt x="66" y="42"/>
                    <a:pt x="66" y="42"/>
                  </a:cubicBezTo>
                  <a:cubicBezTo>
                    <a:pt x="72" y="42"/>
                    <a:pt x="76" y="37"/>
                    <a:pt x="76" y="32"/>
                  </a:cubicBezTo>
                  <a:cubicBezTo>
                    <a:pt x="76" y="27"/>
                    <a:pt x="72" y="23"/>
                    <a:pt x="66" y="23"/>
                  </a:cubicBezTo>
                  <a:close/>
                </a:path>
              </a:pathLst>
            </a:custGeom>
            <a:grpFill/>
            <a:ln>
              <a:noFill/>
            </a:ln>
          </p:spPr>
          <p:txBody>
            <a:bodyPr vert="horz" wrap="square" lIns="91427" tIns="0" rIns="91427" bIns="45713" numCol="1" anchor="ctr" anchorCtr="0" compatLnSpc="1">
              <a:prstTxWarp prst="textNoShape">
                <a:avLst/>
              </a:prstTxWarp>
            </a:bodyPr>
            <a:lstStyle/>
            <a:p>
              <a:pPr defTabSz="914367"/>
              <a:endParaRPr lang="en-US">
                <a:solidFill>
                  <a:srgbClr val="353535"/>
                </a:solidFill>
                <a:latin typeface="Segoe UI Semilight"/>
              </a:endParaRPr>
            </a:p>
          </p:txBody>
        </p:sp>
        <p:sp>
          <p:nvSpPr>
            <p:cNvPr id="81" name="Freeform 54"/>
            <p:cNvSpPr>
              <a:spLocks noEditPoints="1"/>
            </p:cNvSpPr>
            <p:nvPr/>
          </p:nvSpPr>
          <p:spPr bwMode="auto">
            <a:xfrm>
              <a:off x="5296507" y="6772323"/>
              <a:ext cx="288925" cy="303213"/>
            </a:xfrm>
            <a:custGeom>
              <a:avLst/>
              <a:gdLst>
                <a:gd name="T0" fmla="*/ 67 w 77"/>
                <a:gd name="T1" fmla="*/ 1 h 81"/>
                <a:gd name="T2" fmla="*/ 7 w 77"/>
                <a:gd name="T3" fmla="*/ 11 h 81"/>
                <a:gd name="T4" fmla="*/ 0 w 77"/>
                <a:gd name="T5" fmla="*/ 19 h 81"/>
                <a:gd name="T6" fmla="*/ 0 w 77"/>
                <a:gd name="T7" fmla="*/ 62 h 81"/>
                <a:gd name="T8" fmla="*/ 7 w 77"/>
                <a:gd name="T9" fmla="*/ 71 h 81"/>
                <a:gd name="T10" fmla="*/ 67 w 77"/>
                <a:gd name="T11" fmla="*/ 81 h 81"/>
                <a:gd name="T12" fmla="*/ 68 w 77"/>
                <a:gd name="T13" fmla="*/ 81 h 81"/>
                <a:gd name="T14" fmla="*/ 74 w 77"/>
                <a:gd name="T15" fmla="*/ 79 h 81"/>
                <a:gd name="T16" fmla="*/ 77 w 77"/>
                <a:gd name="T17" fmla="*/ 72 h 81"/>
                <a:gd name="T18" fmla="*/ 77 w 77"/>
                <a:gd name="T19" fmla="*/ 9 h 81"/>
                <a:gd name="T20" fmla="*/ 74 w 77"/>
                <a:gd name="T21" fmla="*/ 3 h 81"/>
                <a:gd name="T22" fmla="*/ 67 w 77"/>
                <a:gd name="T23" fmla="*/ 1 h 81"/>
                <a:gd name="T24" fmla="*/ 23 w 77"/>
                <a:gd name="T25" fmla="*/ 56 h 81"/>
                <a:gd name="T26" fmla="*/ 17 w 77"/>
                <a:gd name="T27" fmla="*/ 55 h 81"/>
                <a:gd name="T28" fmla="*/ 17 w 77"/>
                <a:gd name="T29" fmla="*/ 50 h 81"/>
                <a:gd name="T30" fmla="*/ 23 w 77"/>
                <a:gd name="T31" fmla="*/ 50 h 81"/>
                <a:gd name="T32" fmla="*/ 23 w 77"/>
                <a:gd name="T33" fmla="*/ 56 h 81"/>
                <a:gd name="T34" fmla="*/ 23 w 77"/>
                <a:gd name="T35" fmla="*/ 32 h 81"/>
                <a:gd name="T36" fmla="*/ 17 w 77"/>
                <a:gd name="T37" fmla="*/ 32 h 81"/>
                <a:gd name="T38" fmla="*/ 17 w 77"/>
                <a:gd name="T39" fmla="*/ 27 h 81"/>
                <a:gd name="T40" fmla="*/ 23 w 77"/>
                <a:gd name="T41" fmla="*/ 26 h 81"/>
                <a:gd name="T42" fmla="*/ 23 w 77"/>
                <a:gd name="T43" fmla="*/ 32 h 81"/>
                <a:gd name="T44" fmla="*/ 60 w 77"/>
                <a:gd name="T45" fmla="*/ 62 h 81"/>
                <a:gd name="T46" fmla="*/ 40 w 77"/>
                <a:gd name="T47" fmla="*/ 59 h 81"/>
                <a:gd name="T48" fmla="*/ 40 w 77"/>
                <a:gd name="T49" fmla="*/ 50 h 81"/>
                <a:gd name="T50" fmla="*/ 60 w 77"/>
                <a:gd name="T51" fmla="*/ 50 h 81"/>
                <a:gd name="T52" fmla="*/ 60 w 77"/>
                <a:gd name="T53" fmla="*/ 62 h 81"/>
                <a:gd name="T54" fmla="*/ 60 w 77"/>
                <a:gd name="T55" fmla="*/ 32 h 81"/>
                <a:gd name="T56" fmla="*/ 40 w 77"/>
                <a:gd name="T57" fmla="*/ 32 h 81"/>
                <a:gd name="T58" fmla="*/ 40 w 77"/>
                <a:gd name="T59" fmla="*/ 23 h 81"/>
                <a:gd name="T60" fmla="*/ 60 w 77"/>
                <a:gd name="T61" fmla="*/ 19 h 81"/>
                <a:gd name="T62" fmla="*/ 60 w 77"/>
                <a:gd name="T63" fmla="*/ 3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7" h="81">
                  <a:moveTo>
                    <a:pt x="67" y="1"/>
                  </a:moveTo>
                  <a:cubicBezTo>
                    <a:pt x="7" y="11"/>
                    <a:pt x="7" y="11"/>
                    <a:pt x="7" y="11"/>
                  </a:cubicBezTo>
                  <a:cubicBezTo>
                    <a:pt x="3" y="12"/>
                    <a:pt x="0" y="15"/>
                    <a:pt x="0" y="19"/>
                  </a:cubicBezTo>
                  <a:cubicBezTo>
                    <a:pt x="0" y="62"/>
                    <a:pt x="0" y="62"/>
                    <a:pt x="0" y="62"/>
                  </a:cubicBezTo>
                  <a:cubicBezTo>
                    <a:pt x="0" y="66"/>
                    <a:pt x="3" y="70"/>
                    <a:pt x="7" y="71"/>
                  </a:cubicBezTo>
                  <a:cubicBezTo>
                    <a:pt x="67" y="81"/>
                    <a:pt x="67" y="81"/>
                    <a:pt x="67" y="81"/>
                  </a:cubicBezTo>
                  <a:cubicBezTo>
                    <a:pt x="67" y="81"/>
                    <a:pt x="68" y="81"/>
                    <a:pt x="68" y="81"/>
                  </a:cubicBezTo>
                  <a:cubicBezTo>
                    <a:pt x="70" y="81"/>
                    <a:pt x="72" y="80"/>
                    <a:pt x="74" y="79"/>
                  </a:cubicBezTo>
                  <a:cubicBezTo>
                    <a:pt x="76" y="77"/>
                    <a:pt x="77" y="75"/>
                    <a:pt x="77" y="72"/>
                  </a:cubicBezTo>
                  <a:cubicBezTo>
                    <a:pt x="77" y="9"/>
                    <a:pt x="77" y="9"/>
                    <a:pt x="77" y="9"/>
                  </a:cubicBezTo>
                  <a:cubicBezTo>
                    <a:pt x="77" y="7"/>
                    <a:pt x="76" y="4"/>
                    <a:pt x="74" y="3"/>
                  </a:cubicBezTo>
                  <a:cubicBezTo>
                    <a:pt x="72" y="1"/>
                    <a:pt x="69" y="0"/>
                    <a:pt x="67" y="1"/>
                  </a:cubicBezTo>
                  <a:close/>
                  <a:moveTo>
                    <a:pt x="23" y="56"/>
                  </a:moveTo>
                  <a:cubicBezTo>
                    <a:pt x="17" y="55"/>
                    <a:pt x="17" y="55"/>
                    <a:pt x="17" y="55"/>
                  </a:cubicBezTo>
                  <a:cubicBezTo>
                    <a:pt x="17" y="50"/>
                    <a:pt x="17" y="50"/>
                    <a:pt x="17" y="50"/>
                  </a:cubicBezTo>
                  <a:cubicBezTo>
                    <a:pt x="23" y="50"/>
                    <a:pt x="23" y="50"/>
                    <a:pt x="23" y="50"/>
                  </a:cubicBezTo>
                  <a:lnTo>
                    <a:pt x="23" y="56"/>
                  </a:lnTo>
                  <a:close/>
                  <a:moveTo>
                    <a:pt x="23" y="32"/>
                  </a:moveTo>
                  <a:cubicBezTo>
                    <a:pt x="17" y="32"/>
                    <a:pt x="17" y="32"/>
                    <a:pt x="17" y="32"/>
                  </a:cubicBezTo>
                  <a:cubicBezTo>
                    <a:pt x="17" y="27"/>
                    <a:pt x="17" y="27"/>
                    <a:pt x="17" y="27"/>
                  </a:cubicBezTo>
                  <a:cubicBezTo>
                    <a:pt x="23" y="26"/>
                    <a:pt x="23" y="26"/>
                    <a:pt x="23" y="26"/>
                  </a:cubicBezTo>
                  <a:lnTo>
                    <a:pt x="23" y="32"/>
                  </a:lnTo>
                  <a:close/>
                  <a:moveTo>
                    <a:pt x="60" y="62"/>
                  </a:moveTo>
                  <a:cubicBezTo>
                    <a:pt x="40" y="59"/>
                    <a:pt x="40" y="59"/>
                    <a:pt x="40" y="59"/>
                  </a:cubicBezTo>
                  <a:cubicBezTo>
                    <a:pt x="40" y="50"/>
                    <a:pt x="40" y="50"/>
                    <a:pt x="40" y="50"/>
                  </a:cubicBezTo>
                  <a:cubicBezTo>
                    <a:pt x="60" y="50"/>
                    <a:pt x="60" y="50"/>
                    <a:pt x="60" y="50"/>
                  </a:cubicBezTo>
                  <a:lnTo>
                    <a:pt x="60" y="62"/>
                  </a:lnTo>
                  <a:close/>
                  <a:moveTo>
                    <a:pt x="60" y="32"/>
                  </a:moveTo>
                  <a:cubicBezTo>
                    <a:pt x="40" y="32"/>
                    <a:pt x="40" y="32"/>
                    <a:pt x="40" y="32"/>
                  </a:cubicBezTo>
                  <a:cubicBezTo>
                    <a:pt x="40" y="23"/>
                    <a:pt x="40" y="23"/>
                    <a:pt x="40" y="23"/>
                  </a:cubicBezTo>
                  <a:cubicBezTo>
                    <a:pt x="60" y="19"/>
                    <a:pt x="60" y="19"/>
                    <a:pt x="60" y="19"/>
                  </a:cubicBezTo>
                  <a:lnTo>
                    <a:pt x="60" y="32"/>
                  </a:lnTo>
                  <a:close/>
                </a:path>
              </a:pathLst>
            </a:custGeom>
            <a:grpFill/>
            <a:ln>
              <a:noFill/>
            </a:ln>
          </p:spPr>
          <p:txBody>
            <a:bodyPr vert="horz" wrap="square" lIns="91427" tIns="0" rIns="91427" bIns="45713" numCol="1" anchor="ctr" anchorCtr="0" compatLnSpc="1">
              <a:prstTxWarp prst="textNoShape">
                <a:avLst/>
              </a:prstTxWarp>
            </a:bodyPr>
            <a:lstStyle/>
            <a:p>
              <a:pPr defTabSz="914367"/>
              <a:endParaRPr lang="en-US">
                <a:solidFill>
                  <a:srgbClr val="353535"/>
                </a:solidFill>
                <a:latin typeface="Segoe UI Semilight"/>
              </a:endParaRPr>
            </a:p>
          </p:txBody>
        </p:sp>
        <p:sp>
          <p:nvSpPr>
            <p:cNvPr id="82" name="Freeform 55"/>
            <p:cNvSpPr>
              <a:spLocks noEditPoints="1"/>
            </p:cNvSpPr>
            <p:nvPr/>
          </p:nvSpPr>
          <p:spPr bwMode="auto">
            <a:xfrm>
              <a:off x="5936270" y="6813598"/>
              <a:ext cx="277813" cy="222250"/>
            </a:xfrm>
            <a:custGeom>
              <a:avLst/>
              <a:gdLst>
                <a:gd name="T0" fmla="*/ 48 w 74"/>
                <a:gd name="T1" fmla="*/ 0 h 59"/>
                <a:gd name="T2" fmla="*/ 22 w 74"/>
                <a:gd name="T3" fmla="*/ 26 h 59"/>
                <a:gd name="T4" fmla="*/ 23 w 74"/>
                <a:gd name="T5" fmla="*/ 30 h 59"/>
                <a:gd name="T6" fmla="*/ 6 w 74"/>
                <a:gd name="T7" fmla="*/ 41 h 59"/>
                <a:gd name="T8" fmla="*/ 3 w 74"/>
                <a:gd name="T9" fmla="*/ 55 h 59"/>
                <a:gd name="T10" fmla="*/ 11 w 74"/>
                <a:gd name="T11" fmla="*/ 59 h 59"/>
                <a:gd name="T12" fmla="*/ 17 w 74"/>
                <a:gd name="T13" fmla="*/ 58 h 59"/>
                <a:gd name="T14" fmla="*/ 34 w 74"/>
                <a:gd name="T15" fmla="*/ 47 h 59"/>
                <a:gd name="T16" fmla="*/ 48 w 74"/>
                <a:gd name="T17" fmla="*/ 51 h 59"/>
                <a:gd name="T18" fmla="*/ 74 w 74"/>
                <a:gd name="T19" fmla="*/ 26 h 59"/>
                <a:gd name="T20" fmla="*/ 48 w 74"/>
                <a:gd name="T21" fmla="*/ 0 h 59"/>
                <a:gd name="T22" fmla="*/ 48 w 74"/>
                <a:gd name="T23" fmla="*/ 31 h 59"/>
                <a:gd name="T24" fmla="*/ 42 w 74"/>
                <a:gd name="T25" fmla="*/ 26 h 59"/>
                <a:gd name="T26" fmla="*/ 48 w 74"/>
                <a:gd name="T27" fmla="*/ 20 h 59"/>
                <a:gd name="T28" fmla="*/ 54 w 74"/>
                <a:gd name="T29" fmla="*/ 26 h 59"/>
                <a:gd name="T30" fmla="*/ 48 w 74"/>
                <a:gd name="T3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 h="59">
                  <a:moveTo>
                    <a:pt x="48" y="0"/>
                  </a:moveTo>
                  <a:cubicBezTo>
                    <a:pt x="34" y="0"/>
                    <a:pt x="22" y="11"/>
                    <a:pt x="22" y="26"/>
                  </a:cubicBezTo>
                  <a:cubicBezTo>
                    <a:pt x="22" y="27"/>
                    <a:pt x="23" y="29"/>
                    <a:pt x="23" y="30"/>
                  </a:cubicBezTo>
                  <a:cubicBezTo>
                    <a:pt x="6" y="41"/>
                    <a:pt x="6" y="41"/>
                    <a:pt x="6" y="41"/>
                  </a:cubicBezTo>
                  <a:cubicBezTo>
                    <a:pt x="1" y="44"/>
                    <a:pt x="0" y="50"/>
                    <a:pt x="3" y="55"/>
                  </a:cubicBezTo>
                  <a:cubicBezTo>
                    <a:pt x="5" y="58"/>
                    <a:pt x="8" y="59"/>
                    <a:pt x="11" y="59"/>
                  </a:cubicBezTo>
                  <a:cubicBezTo>
                    <a:pt x="13" y="59"/>
                    <a:pt x="15" y="59"/>
                    <a:pt x="17" y="58"/>
                  </a:cubicBezTo>
                  <a:cubicBezTo>
                    <a:pt x="34" y="47"/>
                    <a:pt x="34" y="47"/>
                    <a:pt x="34" y="47"/>
                  </a:cubicBezTo>
                  <a:cubicBezTo>
                    <a:pt x="38" y="50"/>
                    <a:pt x="43" y="51"/>
                    <a:pt x="48" y="51"/>
                  </a:cubicBezTo>
                  <a:cubicBezTo>
                    <a:pt x="62" y="51"/>
                    <a:pt x="74" y="40"/>
                    <a:pt x="74" y="26"/>
                  </a:cubicBezTo>
                  <a:cubicBezTo>
                    <a:pt x="74" y="11"/>
                    <a:pt x="62" y="0"/>
                    <a:pt x="48" y="0"/>
                  </a:cubicBezTo>
                  <a:close/>
                  <a:moveTo>
                    <a:pt x="48" y="31"/>
                  </a:moveTo>
                  <a:cubicBezTo>
                    <a:pt x="45" y="31"/>
                    <a:pt x="42" y="29"/>
                    <a:pt x="42" y="26"/>
                  </a:cubicBezTo>
                  <a:cubicBezTo>
                    <a:pt x="42" y="22"/>
                    <a:pt x="45" y="20"/>
                    <a:pt x="48" y="20"/>
                  </a:cubicBezTo>
                  <a:cubicBezTo>
                    <a:pt x="51" y="20"/>
                    <a:pt x="54" y="22"/>
                    <a:pt x="54" y="26"/>
                  </a:cubicBezTo>
                  <a:cubicBezTo>
                    <a:pt x="54" y="29"/>
                    <a:pt x="51" y="31"/>
                    <a:pt x="48" y="31"/>
                  </a:cubicBezTo>
                  <a:close/>
                </a:path>
              </a:pathLst>
            </a:custGeom>
            <a:grpFill/>
            <a:ln>
              <a:noFill/>
            </a:ln>
          </p:spPr>
          <p:txBody>
            <a:bodyPr vert="horz" wrap="square" lIns="91427" tIns="0" rIns="91427" bIns="45713" numCol="1" anchor="ctr" anchorCtr="0" compatLnSpc="1">
              <a:prstTxWarp prst="textNoShape">
                <a:avLst/>
              </a:prstTxWarp>
            </a:bodyPr>
            <a:lstStyle/>
            <a:p>
              <a:pPr defTabSz="914367"/>
              <a:endParaRPr lang="en-US">
                <a:solidFill>
                  <a:srgbClr val="353535"/>
                </a:solidFill>
                <a:latin typeface="Segoe UI Semilight"/>
              </a:endParaRPr>
            </a:p>
          </p:txBody>
        </p:sp>
      </p:grpSp>
      <p:sp>
        <p:nvSpPr>
          <p:cNvPr id="91" name="Freeform 97"/>
          <p:cNvSpPr>
            <a:spLocks/>
          </p:cNvSpPr>
          <p:nvPr/>
        </p:nvSpPr>
        <p:spPr bwMode="auto">
          <a:xfrm>
            <a:off x="659049" y="4447342"/>
            <a:ext cx="268660" cy="273340"/>
          </a:xfrm>
          <a:custGeom>
            <a:avLst/>
            <a:gdLst>
              <a:gd name="connsiteX0" fmla="*/ 1322388 w 3242343"/>
              <a:gd name="connsiteY0" fmla="*/ 122238 h 3298826"/>
              <a:gd name="connsiteX1" fmla="*/ 120650 w 3242343"/>
              <a:gd name="connsiteY1" fmla="*/ 1324770 h 3298826"/>
              <a:gd name="connsiteX2" fmla="*/ 1322388 w 3242343"/>
              <a:gd name="connsiteY2" fmla="*/ 2527302 h 3298826"/>
              <a:gd name="connsiteX3" fmla="*/ 2086805 w 3242343"/>
              <a:gd name="connsiteY3" fmla="*/ 2252702 h 3298826"/>
              <a:gd name="connsiteX4" fmla="*/ 2116638 w 3242343"/>
              <a:gd name="connsiteY4" fmla="*/ 2225570 h 3298826"/>
              <a:gd name="connsiteX5" fmla="*/ 2119960 w 3242343"/>
              <a:gd name="connsiteY5" fmla="*/ 2219829 h 3298826"/>
              <a:gd name="connsiteX6" fmla="*/ 2128784 w 3242343"/>
              <a:gd name="connsiteY6" fmla="*/ 2214524 h 3298826"/>
              <a:gd name="connsiteX7" fmla="*/ 2172145 w 3242343"/>
              <a:gd name="connsiteY7" fmla="*/ 2175088 h 3298826"/>
              <a:gd name="connsiteX8" fmla="*/ 2524126 w 3242343"/>
              <a:gd name="connsiteY8" fmla="*/ 1324770 h 3298826"/>
              <a:gd name="connsiteX9" fmla="*/ 1322388 w 3242343"/>
              <a:gd name="connsiteY9" fmla="*/ 122238 h 3298826"/>
              <a:gd name="connsiteX10" fmla="*/ 1323182 w 3242343"/>
              <a:gd name="connsiteY10" fmla="*/ 0 h 3298826"/>
              <a:gd name="connsiteX11" fmla="*/ 2646364 w 3242343"/>
              <a:gd name="connsiteY11" fmla="*/ 1323975 h 3298826"/>
              <a:gd name="connsiteX12" fmla="*/ 2258813 w 3242343"/>
              <a:gd name="connsiteY12" fmla="*/ 2260167 h 3298826"/>
              <a:gd name="connsiteX13" fmla="*/ 2254350 w 3242343"/>
              <a:gd name="connsiteY13" fmla="*/ 2264225 h 3298826"/>
              <a:gd name="connsiteX14" fmla="*/ 2386903 w 3242343"/>
              <a:gd name="connsiteY14" fmla="*/ 2391569 h 3298826"/>
              <a:gd name="connsiteX15" fmla="*/ 3223701 w 3242343"/>
              <a:gd name="connsiteY15" fmla="*/ 3195486 h 3298826"/>
              <a:gd name="connsiteX16" fmla="*/ 3226742 w 3242343"/>
              <a:gd name="connsiteY16" fmla="*/ 3280590 h 3298826"/>
              <a:gd name="connsiteX17" fmla="*/ 3181133 w 3242343"/>
              <a:gd name="connsiteY17" fmla="*/ 3298826 h 3298826"/>
              <a:gd name="connsiteX18" fmla="*/ 3138564 w 3242343"/>
              <a:gd name="connsiteY18" fmla="*/ 3280590 h 3298826"/>
              <a:gd name="connsiteX19" fmla="*/ 2176556 w 3242343"/>
              <a:gd name="connsiteY19" fmla="*/ 2359263 h 3298826"/>
              <a:gd name="connsiteX20" fmla="*/ 2163423 w 3242343"/>
              <a:gd name="connsiteY20" fmla="*/ 2346685 h 3298826"/>
              <a:gd name="connsiteX21" fmla="*/ 2062986 w 3242343"/>
              <a:gd name="connsiteY21" fmla="*/ 2421836 h 3298826"/>
              <a:gd name="connsiteX22" fmla="*/ 1323182 w 3242343"/>
              <a:gd name="connsiteY22" fmla="*/ 2647950 h 3298826"/>
              <a:gd name="connsiteX23" fmla="*/ 0 w 3242343"/>
              <a:gd name="connsiteY23" fmla="*/ 1323975 h 3298826"/>
              <a:gd name="connsiteX24" fmla="*/ 1323182 w 3242343"/>
              <a:gd name="connsiteY24" fmla="*/ 0 h 32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242343" h="3298826">
                <a:moveTo>
                  <a:pt x="1322388" y="122238"/>
                </a:moveTo>
                <a:cubicBezTo>
                  <a:pt x="658686" y="122238"/>
                  <a:pt x="120650" y="660630"/>
                  <a:pt x="120650" y="1324770"/>
                </a:cubicBezTo>
                <a:cubicBezTo>
                  <a:pt x="120650" y="1988910"/>
                  <a:pt x="658686" y="2527302"/>
                  <a:pt x="1322388" y="2527302"/>
                </a:cubicBezTo>
                <a:cubicBezTo>
                  <a:pt x="1612758" y="2527302"/>
                  <a:pt x="1879074" y="2424251"/>
                  <a:pt x="2086805" y="2252702"/>
                </a:cubicBezTo>
                <a:lnTo>
                  <a:pt x="2116638" y="2225570"/>
                </a:lnTo>
                <a:lnTo>
                  <a:pt x="2119960" y="2219829"/>
                </a:lnTo>
                <a:lnTo>
                  <a:pt x="2128784" y="2214524"/>
                </a:lnTo>
                <a:lnTo>
                  <a:pt x="2172145" y="2175088"/>
                </a:lnTo>
                <a:cubicBezTo>
                  <a:pt x="2389617" y="1957473"/>
                  <a:pt x="2524126" y="1656840"/>
                  <a:pt x="2524126" y="1324770"/>
                </a:cubicBezTo>
                <a:cubicBezTo>
                  <a:pt x="2524126" y="660630"/>
                  <a:pt x="1986090" y="122238"/>
                  <a:pt x="1322388" y="122238"/>
                </a:cubicBezTo>
                <a:close/>
                <a:moveTo>
                  <a:pt x="1323182" y="0"/>
                </a:moveTo>
                <a:cubicBezTo>
                  <a:pt x="2053955" y="0"/>
                  <a:pt x="2646364" y="592764"/>
                  <a:pt x="2646364" y="1323975"/>
                </a:cubicBezTo>
                <a:cubicBezTo>
                  <a:pt x="2646364" y="1689580"/>
                  <a:pt x="2498262" y="2020574"/>
                  <a:pt x="2258813" y="2260167"/>
                </a:cubicBezTo>
                <a:lnTo>
                  <a:pt x="2254350" y="2264225"/>
                </a:lnTo>
                <a:lnTo>
                  <a:pt x="2386903" y="2391569"/>
                </a:lnTo>
                <a:cubicBezTo>
                  <a:pt x="3223701" y="3195486"/>
                  <a:pt x="3223701" y="3195486"/>
                  <a:pt x="3223701" y="3195486"/>
                </a:cubicBezTo>
                <a:cubicBezTo>
                  <a:pt x="3248026" y="3216762"/>
                  <a:pt x="3248026" y="3256274"/>
                  <a:pt x="3226742" y="3280590"/>
                </a:cubicBezTo>
                <a:cubicBezTo>
                  <a:pt x="3214579" y="3292747"/>
                  <a:pt x="3199376" y="3298826"/>
                  <a:pt x="3181133" y="3298826"/>
                </a:cubicBezTo>
                <a:cubicBezTo>
                  <a:pt x="3165930" y="3298826"/>
                  <a:pt x="3150727" y="3292747"/>
                  <a:pt x="3138564" y="3280590"/>
                </a:cubicBezTo>
                <a:cubicBezTo>
                  <a:pt x="2503837" y="2672704"/>
                  <a:pt x="2265815" y="2444747"/>
                  <a:pt x="2176556" y="2359263"/>
                </a:cubicBezTo>
                <a:lnTo>
                  <a:pt x="2163423" y="2346685"/>
                </a:lnTo>
                <a:lnTo>
                  <a:pt x="2062986" y="2421836"/>
                </a:lnTo>
                <a:cubicBezTo>
                  <a:pt x="1851804" y="2564593"/>
                  <a:pt x="1597222" y="2647950"/>
                  <a:pt x="1323182" y="2647950"/>
                </a:cubicBezTo>
                <a:cubicBezTo>
                  <a:pt x="592409" y="2647950"/>
                  <a:pt x="0" y="2055186"/>
                  <a:pt x="0" y="1323975"/>
                </a:cubicBezTo>
                <a:cubicBezTo>
                  <a:pt x="0" y="592764"/>
                  <a:pt x="592409" y="0"/>
                  <a:pt x="1323182" y="0"/>
                </a:cubicBezTo>
                <a:close/>
              </a:path>
            </a:pathLst>
          </a:custGeom>
          <a:solidFill>
            <a:schemeClr val="tx1"/>
          </a:solidFill>
          <a:ln>
            <a:noFill/>
          </a:ln>
        </p:spPr>
        <p:txBody>
          <a:bodyPr vert="horz" wrap="square" lIns="91427" tIns="45713" rIns="91427" bIns="45713" numCol="1" anchor="t" anchorCtr="0" compatLnSpc="1">
            <a:prstTxWarp prst="textNoShape">
              <a:avLst/>
            </a:prstTxWarp>
            <a:noAutofit/>
          </a:bodyPr>
          <a:lstStyle/>
          <a:p>
            <a:pPr defTabSz="914367"/>
            <a:endParaRPr lang="en-US">
              <a:solidFill>
                <a:srgbClr val="353535"/>
              </a:solidFill>
              <a:latin typeface="Segoe UI Semilight"/>
            </a:endParaRPr>
          </a:p>
        </p:txBody>
      </p:sp>
      <p:sp>
        <p:nvSpPr>
          <p:cNvPr id="93" name="Freeform 83"/>
          <p:cNvSpPr>
            <a:spLocks/>
          </p:cNvSpPr>
          <p:nvPr/>
        </p:nvSpPr>
        <p:spPr bwMode="auto">
          <a:xfrm>
            <a:off x="678122" y="3573772"/>
            <a:ext cx="230513" cy="303441"/>
          </a:xfrm>
          <a:custGeom>
            <a:avLst/>
            <a:gdLst>
              <a:gd name="connsiteX0" fmla="*/ 97586 w 427721"/>
              <a:gd name="connsiteY0" fmla="*/ 425633 h 563042"/>
              <a:gd name="connsiteX1" fmla="*/ 330135 w 427721"/>
              <a:gd name="connsiteY1" fmla="*/ 425633 h 563042"/>
              <a:gd name="connsiteX2" fmla="*/ 340202 w 427721"/>
              <a:gd name="connsiteY2" fmla="*/ 435788 h 563042"/>
              <a:gd name="connsiteX3" fmla="*/ 330135 w 427721"/>
              <a:gd name="connsiteY3" fmla="*/ 445943 h 563042"/>
              <a:gd name="connsiteX4" fmla="*/ 97586 w 427721"/>
              <a:gd name="connsiteY4" fmla="*/ 445943 h 563042"/>
              <a:gd name="connsiteX5" fmla="*/ 87519 w 427721"/>
              <a:gd name="connsiteY5" fmla="*/ 435788 h 563042"/>
              <a:gd name="connsiteX6" fmla="*/ 97586 w 427721"/>
              <a:gd name="connsiteY6" fmla="*/ 425633 h 563042"/>
              <a:gd name="connsiteX7" fmla="*/ 97586 w 427721"/>
              <a:gd name="connsiteY7" fmla="*/ 377365 h 563042"/>
              <a:gd name="connsiteX8" fmla="*/ 330135 w 427721"/>
              <a:gd name="connsiteY8" fmla="*/ 377365 h 563042"/>
              <a:gd name="connsiteX9" fmla="*/ 340202 w 427721"/>
              <a:gd name="connsiteY9" fmla="*/ 387388 h 563042"/>
              <a:gd name="connsiteX10" fmla="*/ 330135 w 427721"/>
              <a:gd name="connsiteY10" fmla="*/ 397411 h 563042"/>
              <a:gd name="connsiteX11" fmla="*/ 97586 w 427721"/>
              <a:gd name="connsiteY11" fmla="*/ 397411 h 563042"/>
              <a:gd name="connsiteX12" fmla="*/ 87519 w 427721"/>
              <a:gd name="connsiteY12" fmla="*/ 387388 h 563042"/>
              <a:gd name="connsiteX13" fmla="*/ 97586 w 427721"/>
              <a:gd name="connsiteY13" fmla="*/ 377365 h 563042"/>
              <a:gd name="connsiteX14" fmla="*/ 97586 w 427721"/>
              <a:gd name="connsiteY14" fmla="*/ 332790 h 563042"/>
              <a:gd name="connsiteX15" fmla="*/ 330135 w 427721"/>
              <a:gd name="connsiteY15" fmla="*/ 332790 h 563042"/>
              <a:gd name="connsiteX16" fmla="*/ 340202 w 427721"/>
              <a:gd name="connsiteY16" fmla="*/ 342945 h 563042"/>
              <a:gd name="connsiteX17" fmla="*/ 330135 w 427721"/>
              <a:gd name="connsiteY17" fmla="*/ 353100 h 563042"/>
              <a:gd name="connsiteX18" fmla="*/ 97586 w 427721"/>
              <a:gd name="connsiteY18" fmla="*/ 353100 h 563042"/>
              <a:gd name="connsiteX19" fmla="*/ 87519 w 427721"/>
              <a:gd name="connsiteY19" fmla="*/ 342945 h 563042"/>
              <a:gd name="connsiteX20" fmla="*/ 97586 w 427721"/>
              <a:gd name="connsiteY20" fmla="*/ 332790 h 563042"/>
              <a:gd name="connsiteX21" fmla="*/ 97586 w 427721"/>
              <a:gd name="connsiteY21" fmla="*/ 284258 h 563042"/>
              <a:gd name="connsiteX22" fmla="*/ 330135 w 427721"/>
              <a:gd name="connsiteY22" fmla="*/ 284258 h 563042"/>
              <a:gd name="connsiteX23" fmla="*/ 340202 w 427721"/>
              <a:gd name="connsiteY23" fmla="*/ 294413 h 563042"/>
              <a:gd name="connsiteX24" fmla="*/ 330135 w 427721"/>
              <a:gd name="connsiteY24" fmla="*/ 304568 h 563042"/>
              <a:gd name="connsiteX25" fmla="*/ 97586 w 427721"/>
              <a:gd name="connsiteY25" fmla="*/ 304568 h 563042"/>
              <a:gd name="connsiteX26" fmla="*/ 87519 w 427721"/>
              <a:gd name="connsiteY26" fmla="*/ 294413 h 563042"/>
              <a:gd name="connsiteX27" fmla="*/ 97586 w 427721"/>
              <a:gd name="connsiteY27" fmla="*/ 284258 h 563042"/>
              <a:gd name="connsiteX28" fmla="*/ 97586 w 427721"/>
              <a:gd name="connsiteY28" fmla="*/ 239946 h 563042"/>
              <a:gd name="connsiteX29" fmla="*/ 330135 w 427721"/>
              <a:gd name="connsiteY29" fmla="*/ 239946 h 563042"/>
              <a:gd name="connsiteX30" fmla="*/ 340202 w 427721"/>
              <a:gd name="connsiteY30" fmla="*/ 249969 h 563042"/>
              <a:gd name="connsiteX31" fmla="*/ 330135 w 427721"/>
              <a:gd name="connsiteY31" fmla="*/ 259992 h 563042"/>
              <a:gd name="connsiteX32" fmla="*/ 97586 w 427721"/>
              <a:gd name="connsiteY32" fmla="*/ 259992 h 563042"/>
              <a:gd name="connsiteX33" fmla="*/ 87519 w 427721"/>
              <a:gd name="connsiteY33" fmla="*/ 249969 h 563042"/>
              <a:gd name="connsiteX34" fmla="*/ 97586 w 427721"/>
              <a:gd name="connsiteY34" fmla="*/ 239946 h 563042"/>
              <a:gd name="connsiteX35" fmla="*/ 258923 w 427721"/>
              <a:gd name="connsiteY35" fmla="*/ 20431 h 563042"/>
              <a:gd name="connsiteX36" fmla="*/ 257906 w 427721"/>
              <a:gd name="connsiteY36" fmla="*/ 21447 h 563042"/>
              <a:gd name="connsiteX37" fmla="*/ 257906 w 427721"/>
              <a:gd name="connsiteY37" fmla="*/ 168799 h 563042"/>
              <a:gd name="connsiteX38" fmla="*/ 258923 w 427721"/>
              <a:gd name="connsiteY38" fmla="*/ 169815 h 563042"/>
              <a:gd name="connsiteX39" fmla="*/ 406274 w 427721"/>
              <a:gd name="connsiteY39" fmla="*/ 169815 h 563042"/>
              <a:gd name="connsiteX40" fmla="*/ 407290 w 427721"/>
              <a:gd name="connsiteY40" fmla="*/ 168799 h 563042"/>
              <a:gd name="connsiteX41" fmla="*/ 406782 w 427721"/>
              <a:gd name="connsiteY41" fmla="*/ 167782 h 563042"/>
              <a:gd name="connsiteX42" fmla="*/ 406274 w 427721"/>
              <a:gd name="connsiteY42" fmla="*/ 167274 h 563042"/>
              <a:gd name="connsiteX43" fmla="*/ 405766 w 427721"/>
              <a:gd name="connsiteY43" fmla="*/ 166766 h 563042"/>
              <a:gd name="connsiteX44" fmla="*/ 259939 w 427721"/>
              <a:gd name="connsiteY44" fmla="*/ 20939 h 563042"/>
              <a:gd name="connsiteX45" fmla="*/ 258923 w 427721"/>
              <a:gd name="connsiteY45" fmla="*/ 20431 h 563042"/>
              <a:gd name="connsiteX46" fmla="*/ 33058 w 427721"/>
              <a:gd name="connsiteY46" fmla="*/ 20326 h 563042"/>
              <a:gd name="connsiteX47" fmla="*/ 20343 w 427721"/>
              <a:gd name="connsiteY47" fmla="*/ 33030 h 563042"/>
              <a:gd name="connsiteX48" fmla="*/ 20343 w 427721"/>
              <a:gd name="connsiteY48" fmla="*/ 530012 h 563042"/>
              <a:gd name="connsiteX49" fmla="*/ 33058 w 427721"/>
              <a:gd name="connsiteY49" fmla="*/ 542716 h 563042"/>
              <a:gd name="connsiteX50" fmla="*/ 394663 w 427721"/>
              <a:gd name="connsiteY50" fmla="*/ 542716 h 563042"/>
              <a:gd name="connsiteX51" fmla="*/ 407378 w 427721"/>
              <a:gd name="connsiteY51" fmla="*/ 530012 h 563042"/>
              <a:gd name="connsiteX52" fmla="*/ 407378 w 427721"/>
              <a:gd name="connsiteY52" fmla="*/ 198965 h 563042"/>
              <a:gd name="connsiteX53" fmla="*/ 407378 w 427721"/>
              <a:gd name="connsiteY53" fmla="*/ 189772 h 563042"/>
              <a:gd name="connsiteX54" fmla="*/ 406357 w 427721"/>
              <a:gd name="connsiteY54" fmla="*/ 189980 h 563042"/>
              <a:gd name="connsiteX55" fmla="*/ 258840 w 427721"/>
              <a:gd name="connsiteY55" fmla="*/ 189980 h 563042"/>
              <a:gd name="connsiteX56" fmla="*/ 237476 w 427721"/>
              <a:gd name="connsiteY56" fmla="*/ 168638 h 563042"/>
              <a:gd name="connsiteX57" fmla="*/ 237476 w 427721"/>
              <a:gd name="connsiteY57" fmla="*/ 21275 h 563042"/>
              <a:gd name="connsiteX58" fmla="*/ 237616 w 427721"/>
              <a:gd name="connsiteY58" fmla="*/ 20326 h 563042"/>
              <a:gd name="connsiteX59" fmla="*/ 219122 w 427721"/>
              <a:gd name="connsiteY59" fmla="*/ 20326 h 563042"/>
              <a:gd name="connsiteX60" fmla="*/ 33058 w 427721"/>
              <a:gd name="connsiteY60" fmla="*/ 20326 h 563042"/>
              <a:gd name="connsiteX61" fmla="*/ 33058 w 427721"/>
              <a:gd name="connsiteY61" fmla="*/ 0 h 563042"/>
              <a:gd name="connsiteX62" fmla="*/ 258871 w 427721"/>
              <a:gd name="connsiteY62" fmla="*/ 0 h 563042"/>
              <a:gd name="connsiteX63" fmla="*/ 258871 w 427721"/>
              <a:gd name="connsiteY63" fmla="*/ 253 h 563042"/>
              <a:gd name="connsiteX64" fmla="*/ 266160 w 427721"/>
              <a:gd name="connsiteY64" fmla="*/ 1100 h 563042"/>
              <a:gd name="connsiteX65" fmla="*/ 274100 w 427721"/>
              <a:gd name="connsiteY65" fmla="*/ 6030 h 563042"/>
              <a:gd name="connsiteX66" fmla="*/ 419582 w 427721"/>
              <a:gd name="connsiteY66" fmla="*/ 151361 h 563042"/>
              <a:gd name="connsiteX67" fmla="*/ 427721 w 427721"/>
              <a:gd name="connsiteY67" fmla="*/ 168638 h 563042"/>
              <a:gd name="connsiteX68" fmla="*/ 427707 w 427721"/>
              <a:gd name="connsiteY68" fmla="*/ 168709 h 563042"/>
              <a:gd name="connsiteX69" fmla="*/ 427721 w 427721"/>
              <a:gd name="connsiteY69" fmla="*/ 168709 h 563042"/>
              <a:gd name="connsiteX70" fmla="*/ 427721 w 427721"/>
              <a:gd name="connsiteY70" fmla="*/ 530012 h 563042"/>
              <a:gd name="connsiteX71" fmla="*/ 394663 w 427721"/>
              <a:gd name="connsiteY71" fmla="*/ 563042 h 563042"/>
              <a:gd name="connsiteX72" fmla="*/ 33058 w 427721"/>
              <a:gd name="connsiteY72" fmla="*/ 563042 h 563042"/>
              <a:gd name="connsiteX73" fmla="*/ 0 w 427721"/>
              <a:gd name="connsiteY73" fmla="*/ 530012 h 563042"/>
              <a:gd name="connsiteX74" fmla="*/ 0 w 427721"/>
              <a:gd name="connsiteY74" fmla="*/ 33030 h 563042"/>
              <a:gd name="connsiteX75" fmla="*/ 33058 w 427721"/>
              <a:gd name="connsiteY75" fmla="*/ 0 h 5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27721" h="563042">
                <a:moveTo>
                  <a:pt x="97586" y="425633"/>
                </a:moveTo>
                <a:cubicBezTo>
                  <a:pt x="330135" y="425633"/>
                  <a:pt x="330135" y="425633"/>
                  <a:pt x="330135" y="425633"/>
                </a:cubicBezTo>
                <a:cubicBezTo>
                  <a:pt x="335672" y="425633"/>
                  <a:pt x="340202" y="430203"/>
                  <a:pt x="340202" y="435788"/>
                </a:cubicBezTo>
                <a:cubicBezTo>
                  <a:pt x="340202" y="441373"/>
                  <a:pt x="335672" y="445943"/>
                  <a:pt x="330135" y="445943"/>
                </a:cubicBezTo>
                <a:cubicBezTo>
                  <a:pt x="97586" y="445943"/>
                  <a:pt x="97586" y="445943"/>
                  <a:pt x="97586" y="445943"/>
                </a:cubicBezTo>
                <a:cubicBezTo>
                  <a:pt x="92049" y="445943"/>
                  <a:pt x="87519" y="441373"/>
                  <a:pt x="87519" y="435788"/>
                </a:cubicBezTo>
                <a:cubicBezTo>
                  <a:pt x="87519" y="430203"/>
                  <a:pt x="92049" y="425633"/>
                  <a:pt x="97586" y="425633"/>
                </a:cubicBezTo>
                <a:close/>
                <a:moveTo>
                  <a:pt x="97586" y="377365"/>
                </a:moveTo>
                <a:cubicBezTo>
                  <a:pt x="330135" y="377365"/>
                  <a:pt x="330135" y="377365"/>
                  <a:pt x="330135" y="377365"/>
                </a:cubicBezTo>
                <a:cubicBezTo>
                  <a:pt x="335672" y="377365"/>
                  <a:pt x="340202" y="381875"/>
                  <a:pt x="340202" y="387388"/>
                </a:cubicBezTo>
                <a:cubicBezTo>
                  <a:pt x="340202" y="392901"/>
                  <a:pt x="335672" y="397411"/>
                  <a:pt x="330135" y="397411"/>
                </a:cubicBezTo>
                <a:cubicBezTo>
                  <a:pt x="97586" y="397411"/>
                  <a:pt x="97586" y="397411"/>
                  <a:pt x="97586" y="397411"/>
                </a:cubicBezTo>
                <a:cubicBezTo>
                  <a:pt x="92049" y="397411"/>
                  <a:pt x="87519" y="392901"/>
                  <a:pt x="87519" y="387388"/>
                </a:cubicBezTo>
                <a:cubicBezTo>
                  <a:pt x="87519" y="381875"/>
                  <a:pt x="92049" y="377365"/>
                  <a:pt x="97586" y="377365"/>
                </a:cubicBezTo>
                <a:close/>
                <a:moveTo>
                  <a:pt x="97586" y="332790"/>
                </a:moveTo>
                <a:cubicBezTo>
                  <a:pt x="330135" y="332790"/>
                  <a:pt x="330135" y="332790"/>
                  <a:pt x="330135" y="332790"/>
                </a:cubicBezTo>
                <a:cubicBezTo>
                  <a:pt x="335672" y="332790"/>
                  <a:pt x="340202" y="337360"/>
                  <a:pt x="340202" y="342945"/>
                </a:cubicBezTo>
                <a:cubicBezTo>
                  <a:pt x="340202" y="348530"/>
                  <a:pt x="335672" y="353100"/>
                  <a:pt x="330135" y="353100"/>
                </a:cubicBezTo>
                <a:cubicBezTo>
                  <a:pt x="97586" y="353100"/>
                  <a:pt x="97586" y="353100"/>
                  <a:pt x="97586" y="353100"/>
                </a:cubicBezTo>
                <a:cubicBezTo>
                  <a:pt x="92049" y="353100"/>
                  <a:pt x="87519" y="348530"/>
                  <a:pt x="87519" y="342945"/>
                </a:cubicBezTo>
                <a:cubicBezTo>
                  <a:pt x="87519" y="337360"/>
                  <a:pt x="92049" y="332790"/>
                  <a:pt x="97586" y="332790"/>
                </a:cubicBezTo>
                <a:close/>
                <a:moveTo>
                  <a:pt x="97586" y="284258"/>
                </a:moveTo>
                <a:cubicBezTo>
                  <a:pt x="330135" y="284258"/>
                  <a:pt x="330135" y="284258"/>
                  <a:pt x="330135" y="284258"/>
                </a:cubicBezTo>
                <a:cubicBezTo>
                  <a:pt x="335672" y="284258"/>
                  <a:pt x="340202" y="288828"/>
                  <a:pt x="340202" y="294413"/>
                </a:cubicBezTo>
                <a:cubicBezTo>
                  <a:pt x="340202" y="299998"/>
                  <a:pt x="335672" y="304568"/>
                  <a:pt x="330135" y="304568"/>
                </a:cubicBezTo>
                <a:cubicBezTo>
                  <a:pt x="97586" y="304568"/>
                  <a:pt x="97586" y="304568"/>
                  <a:pt x="97586" y="304568"/>
                </a:cubicBezTo>
                <a:cubicBezTo>
                  <a:pt x="92049" y="304568"/>
                  <a:pt x="87519" y="299998"/>
                  <a:pt x="87519" y="294413"/>
                </a:cubicBezTo>
                <a:cubicBezTo>
                  <a:pt x="87519" y="288828"/>
                  <a:pt x="92049" y="284258"/>
                  <a:pt x="97586" y="284258"/>
                </a:cubicBezTo>
                <a:close/>
                <a:moveTo>
                  <a:pt x="97586" y="239946"/>
                </a:moveTo>
                <a:cubicBezTo>
                  <a:pt x="330135" y="239946"/>
                  <a:pt x="330135" y="239946"/>
                  <a:pt x="330135" y="239946"/>
                </a:cubicBezTo>
                <a:cubicBezTo>
                  <a:pt x="335672" y="239946"/>
                  <a:pt x="340202" y="244456"/>
                  <a:pt x="340202" y="249969"/>
                </a:cubicBezTo>
                <a:cubicBezTo>
                  <a:pt x="340202" y="255983"/>
                  <a:pt x="335672" y="259992"/>
                  <a:pt x="330135" y="259992"/>
                </a:cubicBezTo>
                <a:cubicBezTo>
                  <a:pt x="97586" y="259992"/>
                  <a:pt x="97586" y="259992"/>
                  <a:pt x="97586" y="259992"/>
                </a:cubicBezTo>
                <a:cubicBezTo>
                  <a:pt x="92049" y="259992"/>
                  <a:pt x="87519" y="255983"/>
                  <a:pt x="87519" y="249969"/>
                </a:cubicBezTo>
                <a:cubicBezTo>
                  <a:pt x="87519" y="244456"/>
                  <a:pt x="92049" y="239946"/>
                  <a:pt x="97586" y="239946"/>
                </a:cubicBezTo>
                <a:close/>
                <a:moveTo>
                  <a:pt x="258923" y="20431"/>
                </a:moveTo>
                <a:cubicBezTo>
                  <a:pt x="258414" y="20939"/>
                  <a:pt x="257906" y="20939"/>
                  <a:pt x="257906" y="21447"/>
                </a:cubicBezTo>
                <a:cubicBezTo>
                  <a:pt x="257906" y="168799"/>
                  <a:pt x="257906" y="168799"/>
                  <a:pt x="257906" y="168799"/>
                </a:cubicBezTo>
                <a:cubicBezTo>
                  <a:pt x="257906" y="169307"/>
                  <a:pt x="258414" y="169815"/>
                  <a:pt x="258923" y="169815"/>
                </a:cubicBezTo>
                <a:cubicBezTo>
                  <a:pt x="406274" y="169815"/>
                  <a:pt x="406274" y="169815"/>
                  <a:pt x="406274" y="169815"/>
                </a:cubicBezTo>
                <a:cubicBezTo>
                  <a:pt x="406782" y="169815"/>
                  <a:pt x="407290" y="169307"/>
                  <a:pt x="407290" y="168799"/>
                </a:cubicBezTo>
                <a:cubicBezTo>
                  <a:pt x="407290" y="168291"/>
                  <a:pt x="407290" y="167782"/>
                  <a:pt x="406782" y="167782"/>
                </a:cubicBezTo>
                <a:cubicBezTo>
                  <a:pt x="406274" y="167274"/>
                  <a:pt x="406274" y="167274"/>
                  <a:pt x="406274" y="167274"/>
                </a:cubicBezTo>
                <a:cubicBezTo>
                  <a:pt x="405766" y="166766"/>
                  <a:pt x="405766" y="166766"/>
                  <a:pt x="405766" y="166766"/>
                </a:cubicBezTo>
                <a:cubicBezTo>
                  <a:pt x="259939" y="20939"/>
                  <a:pt x="259939" y="20939"/>
                  <a:pt x="259939" y="20939"/>
                </a:cubicBezTo>
                <a:cubicBezTo>
                  <a:pt x="259939" y="20431"/>
                  <a:pt x="259431" y="20431"/>
                  <a:pt x="258923" y="20431"/>
                </a:cubicBezTo>
                <a:close/>
                <a:moveTo>
                  <a:pt x="33058" y="20326"/>
                </a:moveTo>
                <a:cubicBezTo>
                  <a:pt x="25938" y="20326"/>
                  <a:pt x="20343" y="25916"/>
                  <a:pt x="20343" y="33030"/>
                </a:cubicBezTo>
                <a:cubicBezTo>
                  <a:pt x="20343" y="530012"/>
                  <a:pt x="20343" y="530012"/>
                  <a:pt x="20343" y="530012"/>
                </a:cubicBezTo>
                <a:cubicBezTo>
                  <a:pt x="20343" y="537126"/>
                  <a:pt x="25938" y="542716"/>
                  <a:pt x="33058" y="542716"/>
                </a:cubicBezTo>
                <a:cubicBezTo>
                  <a:pt x="394663" y="542716"/>
                  <a:pt x="394663" y="542716"/>
                  <a:pt x="394663" y="542716"/>
                </a:cubicBezTo>
                <a:cubicBezTo>
                  <a:pt x="401783" y="542716"/>
                  <a:pt x="407378" y="537126"/>
                  <a:pt x="407378" y="530012"/>
                </a:cubicBezTo>
                <a:cubicBezTo>
                  <a:pt x="407378" y="326779"/>
                  <a:pt x="407378" y="237865"/>
                  <a:pt x="407378" y="198965"/>
                </a:cubicBezTo>
                <a:lnTo>
                  <a:pt x="407378" y="189772"/>
                </a:lnTo>
                <a:lnTo>
                  <a:pt x="406357" y="189980"/>
                </a:lnTo>
                <a:cubicBezTo>
                  <a:pt x="258840" y="189980"/>
                  <a:pt x="258840" y="189980"/>
                  <a:pt x="258840" y="189980"/>
                </a:cubicBezTo>
                <a:cubicBezTo>
                  <a:pt x="247141" y="189980"/>
                  <a:pt x="237476" y="180325"/>
                  <a:pt x="237476" y="168638"/>
                </a:cubicBezTo>
                <a:cubicBezTo>
                  <a:pt x="237476" y="21275"/>
                  <a:pt x="237476" y="21275"/>
                  <a:pt x="237476" y="21275"/>
                </a:cubicBezTo>
                <a:lnTo>
                  <a:pt x="237616" y="20326"/>
                </a:lnTo>
                <a:lnTo>
                  <a:pt x="219122" y="20326"/>
                </a:lnTo>
                <a:cubicBezTo>
                  <a:pt x="33058" y="20326"/>
                  <a:pt x="33058" y="20326"/>
                  <a:pt x="33058" y="20326"/>
                </a:cubicBezTo>
                <a:close/>
                <a:moveTo>
                  <a:pt x="33058" y="0"/>
                </a:moveTo>
                <a:cubicBezTo>
                  <a:pt x="258871" y="0"/>
                  <a:pt x="258871" y="0"/>
                  <a:pt x="258871" y="0"/>
                </a:cubicBezTo>
                <a:lnTo>
                  <a:pt x="258871" y="253"/>
                </a:lnTo>
                <a:lnTo>
                  <a:pt x="266160" y="1100"/>
                </a:lnTo>
                <a:cubicBezTo>
                  <a:pt x="269093" y="2100"/>
                  <a:pt x="271811" y="3744"/>
                  <a:pt x="274100" y="6030"/>
                </a:cubicBezTo>
                <a:cubicBezTo>
                  <a:pt x="419582" y="151361"/>
                  <a:pt x="419582" y="151361"/>
                  <a:pt x="419582" y="151361"/>
                </a:cubicBezTo>
                <a:cubicBezTo>
                  <a:pt x="424669" y="155426"/>
                  <a:pt x="427721" y="162032"/>
                  <a:pt x="427721" y="168638"/>
                </a:cubicBezTo>
                <a:lnTo>
                  <a:pt x="427707" y="168709"/>
                </a:lnTo>
                <a:lnTo>
                  <a:pt x="427721" y="168709"/>
                </a:lnTo>
                <a:cubicBezTo>
                  <a:pt x="427721" y="530012"/>
                  <a:pt x="427721" y="530012"/>
                  <a:pt x="427721" y="530012"/>
                </a:cubicBezTo>
                <a:cubicBezTo>
                  <a:pt x="427721" y="548305"/>
                  <a:pt x="412972" y="563042"/>
                  <a:pt x="394663" y="563042"/>
                </a:cubicBezTo>
                <a:cubicBezTo>
                  <a:pt x="33058" y="563042"/>
                  <a:pt x="33058" y="563042"/>
                  <a:pt x="33058" y="563042"/>
                </a:cubicBezTo>
                <a:cubicBezTo>
                  <a:pt x="14749" y="563042"/>
                  <a:pt x="0" y="548305"/>
                  <a:pt x="0" y="530012"/>
                </a:cubicBezTo>
                <a:cubicBezTo>
                  <a:pt x="0" y="33030"/>
                  <a:pt x="0" y="33030"/>
                  <a:pt x="0" y="33030"/>
                </a:cubicBezTo>
                <a:cubicBezTo>
                  <a:pt x="0" y="14737"/>
                  <a:pt x="14749" y="0"/>
                  <a:pt x="33058" y="0"/>
                </a:cubicBezTo>
                <a:close/>
              </a:path>
            </a:pathLst>
          </a:custGeom>
          <a:solidFill>
            <a:schemeClr val="tx1"/>
          </a:solidFill>
          <a:ln>
            <a:noFill/>
          </a:ln>
        </p:spPr>
        <p:txBody>
          <a:bodyPr vert="horz" wrap="square" lIns="91427" tIns="45713" rIns="91427" bIns="45713" numCol="1" anchor="t" anchorCtr="0" compatLnSpc="1">
            <a:prstTxWarp prst="textNoShape">
              <a:avLst/>
            </a:prstTxWarp>
            <a:noAutofit/>
          </a:bodyPr>
          <a:lstStyle/>
          <a:p>
            <a:pPr defTabSz="914367"/>
            <a:endParaRPr lang="en-US">
              <a:solidFill>
                <a:srgbClr val="353535"/>
              </a:solidFill>
              <a:latin typeface="Segoe UI Semilight"/>
            </a:endParaRPr>
          </a:p>
        </p:txBody>
      </p:sp>
      <p:pic>
        <p:nvPicPr>
          <p:cNvPr id="2" name="Graphic 1"/>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1823" y="5715518"/>
            <a:ext cx="243112" cy="293996"/>
          </a:xfrm>
          <a:prstGeom prst="rect">
            <a:avLst/>
          </a:prstGeom>
        </p:spPr>
      </p:pic>
      <p:pic>
        <p:nvPicPr>
          <p:cNvPr id="3" name="Graphic 2"/>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62649" y="4066206"/>
            <a:ext cx="261457" cy="224106"/>
          </a:xfrm>
          <a:prstGeom prst="rect">
            <a:avLst/>
          </a:prstGeom>
        </p:spPr>
      </p:pic>
      <p:pic>
        <p:nvPicPr>
          <p:cNvPr id="4" name="Graphic 3"/>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6073" y="3137332"/>
            <a:ext cx="274610" cy="274610"/>
          </a:xfrm>
          <a:prstGeom prst="rect">
            <a:avLst/>
          </a:prstGeom>
        </p:spPr>
      </p:pic>
      <p:sp>
        <p:nvSpPr>
          <p:cNvPr id="74" name="Rectangle 73">
            <a:extLst>
              <a:ext uri="{FF2B5EF4-FFF2-40B4-BE49-F238E27FC236}">
                <a16:creationId xmlns:a16="http://schemas.microsoft.com/office/drawing/2014/main" id="{B9B8B693-F8B3-4D70-9506-5CB6530F4AD0}"/>
              </a:ext>
            </a:extLst>
          </p:cNvPr>
          <p:cNvSpPr/>
          <p:nvPr/>
        </p:nvSpPr>
        <p:spPr>
          <a:xfrm>
            <a:off x="5568937" y="1736697"/>
            <a:ext cx="1738005" cy="470693"/>
          </a:xfrm>
          <a:prstGeom prst="rect">
            <a:avLst/>
          </a:prstGeom>
        </p:spPr>
        <p:txBody>
          <a:bodyPr wrap="square">
            <a:spAutoFit/>
          </a:bodyPr>
          <a:lstStyle/>
          <a:p>
            <a:pPr marL="0" lvl="1" algn="ctr" defTabSz="914178" fontAlgn="base">
              <a:lnSpc>
                <a:spcPct val="90000"/>
              </a:lnSpc>
              <a:spcBef>
                <a:spcPct val="0"/>
              </a:spcBef>
              <a:spcAft>
                <a:spcPct val="0"/>
              </a:spcAft>
              <a:defRPr/>
            </a:pPr>
            <a:r>
              <a:rPr lang="en-US" sz="1372">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Power BI </a:t>
            </a:r>
            <a:br>
              <a:rPr lang="en-US" sz="1372">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br>
            <a:r>
              <a:rPr lang="en-US" sz="1372">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Report Server</a:t>
            </a:r>
          </a:p>
        </p:txBody>
      </p:sp>
      <p:sp>
        <p:nvSpPr>
          <p:cNvPr id="76" name="Rectangle 75">
            <a:extLst>
              <a:ext uri="{FF2B5EF4-FFF2-40B4-BE49-F238E27FC236}">
                <a16:creationId xmlns:a16="http://schemas.microsoft.com/office/drawing/2014/main" id="{3228370B-3951-4656-9565-594CA1A19996}"/>
              </a:ext>
            </a:extLst>
          </p:cNvPr>
          <p:cNvSpPr/>
          <p:nvPr/>
        </p:nvSpPr>
        <p:spPr>
          <a:xfrm>
            <a:off x="7520858" y="1736697"/>
            <a:ext cx="1726938" cy="470693"/>
          </a:xfrm>
          <a:prstGeom prst="rect">
            <a:avLst/>
          </a:prstGeom>
        </p:spPr>
        <p:txBody>
          <a:bodyPr wrap="square">
            <a:spAutoFit/>
          </a:bodyPr>
          <a:lstStyle/>
          <a:p>
            <a:pPr marL="0" lvl="1" algn="ctr" defTabSz="914178" fontAlgn="base">
              <a:lnSpc>
                <a:spcPct val="90000"/>
              </a:lnSpc>
              <a:spcBef>
                <a:spcPct val="0"/>
              </a:spcBef>
              <a:spcAft>
                <a:spcPct val="0"/>
              </a:spcAft>
              <a:defRPr/>
            </a:pPr>
            <a:r>
              <a:rPr lang="en-US" sz="1372">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Power BI </a:t>
            </a:r>
            <a:br>
              <a:rPr lang="en-US" sz="1372">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br>
            <a:r>
              <a:rPr lang="en-US" sz="1372">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Service</a:t>
            </a:r>
          </a:p>
        </p:txBody>
      </p:sp>
      <p:sp>
        <p:nvSpPr>
          <p:cNvPr id="57" name="Rectangle 56">
            <a:extLst>
              <a:ext uri="{FF2B5EF4-FFF2-40B4-BE49-F238E27FC236}">
                <a16:creationId xmlns:a16="http://schemas.microsoft.com/office/drawing/2014/main" id="{2536FB37-7531-447E-BE13-E0A4EDB2D64C}"/>
              </a:ext>
            </a:extLst>
          </p:cNvPr>
          <p:cNvSpPr/>
          <p:nvPr/>
        </p:nvSpPr>
        <p:spPr bwMode="auto">
          <a:xfrm>
            <a:off x="1091467" y="2216486"/>
            <a:ext cx="2241062"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a:gradFill>
                <a:gsLst>
                  <a:gs pos="5439">
                    <a:srgbClr val="F8F8F8"/>
                  </a:gs>
                  <a:gs pos="10000">
                    <a:srgbClr val="F8F8F8"/>
                  </a:gs>
                </a:gsLst>
                <a:lin ang="5400000" scaled="0"/>
              </a:gradFill>
              <a:latin typeface="Segoe UI"/>
            </a:endParaRPr>
          </a:p>
        </p:txBody>
      </p:sp>
      <p:sp>
        <p:nvSpPr>
          <p:cNvPr id="62" name="Rectangle 61">
            <a:extLst>
              <a:ext uri="{FF2B5EF4-FFF2-40B4-BE49-F238E27FC236}">
                <a16:creationId xmlns:a16="http://schemas.microsoft.com/office/drawing/2014/main" id="{A33F17B9-A690-460C-89D5-031D55DB9E6A}"/>
              </a:ext>
            </a:extLst>
          </p:cNvPr>
          <p:cNvSpPr/>
          <p:nvPr/>
        </p:nvSpPr>
        <p:spPr bwMode="auto">
          <a:xfrm>
            <a:off x="1055125" y="2651220"/>
            <a:ext cx="2241062"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1961">
              <a:gradFill>
                <a:gsLst>
                  <a:gs pos="5439">
                    <a:srgbClr val="F8F8F8"/>
                  </a:gs>
                  <a:gs pos="10000">
                    <a:srgbClr val="F8F8F8"/>
                  </a:gs>
                </a:gsLst>
                <a:lin ang="5400000" scaled="0"/>
              </a:gradFill>
              <a:latin typeface="Segoe UI"/>
            </a:endParaRPr>
          </a:p>
        </p:txBody>
      </p:sp>
      <p:sp>
        <p:nvSpPr>
          <p:cNvPr id="70" name="Rectangle 69">
            <a:extLst>
              <a:ext uri="{FF2B5EF4-FFF2-40B4-BE49-F238E27FC236}">
                <a16:creationId xmlns:a16="http://schemas.microsoft.com/office/drawing/2014/main" id="{1D4781B3-94FD-4818-8199-AE8C0655C417}"/>
              </a:ext>
            </a:extLst>
          </p:cNvPr>
          <p:cNvSpPr/>
          <p:nvPr/>
        </p:nvSpPr>
        <p:spPr bwMode="auto">
          <a:xfrm>
            <a:off x="1055125" y="3085954"/>
            <a:ext cx="2241062"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1961">
              <a:gradFill>
                <a:gsLst>
                  <a:gs pos="5439">
                    <a:srgbClr val="F8F8F8"/>
                  </a:gs>
                  <a:gs pos="10000">
                    <a:srgbClr val="F8F8F8"/>
                  </a:gs>
                </a:gsLst>
                <a:lin ang="5400000" scaled="0"/>
              </a:gradFill>
              <a:latin typeface="Segoe UI"/>
            </a:endParaRPr>
          </a:p>
        </p:txBody>
      </p:sp>
      <p:sp>
        <p:nvSpPr>
          <p:cNvPr id="71" name="Rectangle 70">
            <a:extLst>
              <a:ext uri="{FF2B5EF4-FFF2-40B4-BE49-F238E27FC236}">
                <a16:creationId xmlns:a16="http://schemas.microsoft.com/office/drawing/2014/main" id="{CD2CD3F0-E0B5-4F22-92D5-4586DB44B97E}"/>
              </a:ext>
            </a:extLst>
          </p:cNvPr>
          <p:cNvSpPr/>
          <p:nvPr/>
        </p:nvSpPr>
        <p:spPr bwMode="auto">
          <a:xfrm>
            <a:off x="1055125" y="3520687"/>
            <a:ext cx="2241062"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72" name="Rectangle 71">
            <a:extLst>
              <a:ext uri="{FF2B5EF4-FFF2-40B4-BE49-F238E27FC236}">
                <a16:creationId xmlns:a16="http://schemas.microsoft.com/office/drawing/2014/main" id="{DE9CE9F4-74C5-443B-B5DE-43B7E23C42E1}"/>
              </a:ext>
            </a:extLst>
          </p:cNvPr>
          <p:cNvSpPr/>
          <p:nvPr/>
        </p:nvSpPr>
        <p:spPr bwMode="auto">
          <a:xfrm>
            <a:off x="1055125" y="3955421"/>
            <a:ext cx="2241062"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73" name="Rectangle 72">
            <a:extLst>
              <a:ext uri="{FF2B5EF4-FFF2-40B4-BE49-F238E27FC236}">
                <a16:creationId xmlns:a16="http://schemas.microsoft.com/office/drawing/2014/main" id="{18AF2063-E33D-484A-AE79-87D5A7E087EB}"/>
              </a:ext>
            </a:extLst>
          </p:cNvPr>
          <p:cNvSpPr/>
          <p:nvPr/>
        </p:nvSpPr>
        <p:spPr bwMode="auto">
          <a:xfrm>
            <a:off x="1065053" y="4390155"/>
            <a:ext cx="2241062"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83" name="Rectangle 82">
            <a:extLst>
              <a:ext uri="{FF2B5EF4-FFF2-40B4-BE49-F238E27FC236}">
                <a16:creationId xmlns:a16="http://schemas.microsoft.com/office/drawing/2014/main" id="{24246B09-7714-422B-A0BA-E72A8E275818}"/>
              </a:ext>
            </a:extLst>
          </p:cNvPr>
          <p:cNvSpPr/>
          <p:nvPr/>
        </p:nvSpPr>
        <p:spPr bwMode="auto">
          <a:xfrm>
            <a:off x="1065053" y="4824886"/>
            <a:ext cx="2241062"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84" name="Rectangle 83">
            <a:extLst>
              <a:ext uri="{FF2B5EF4-FFF2-40B4-BE49-F238E27FC236}">
                <a16:creationId xmlns:a16="http://schemas.microsoft.com/office/drawing/2014/main" id="{D506E8A8-176D-41FB-89FC-4C6782C63531}"/>
              </a:ext>
            </a:extLst>
          </p:cNvPr>
          <p:cNvSpPr/>
          <p:nvPr/>
        </p:nvSpPr>
        <p:spPr>
          <a:xfrm>
            <a:off x="1055125" y="3629433"/>
            <a:ext cx="2905589" cy="217243"/>
          </a:xfrm>
          <a:prstGeom prst="rect">
            <a:avLst/>
          </a:prstGeom>
        </p:spPr>
        <p:txBody>
          <a:bodyPr wrap="square" lIns="89642" tIns="0" bIns="0" anchor="ctr" anchorCtr="0">
            <a:spAutoFit/>
          </a:bodyPr>
          <a:lstStyle/>
          <a:p>
            <a:pPr marL="0" lvl="1" defTabSz="914192">
              <a:lnSpc>
                <a:spcPct val="90000"/>
              </a:lnSpc>
              <a:spcBef>
                <a:spcPts val="588"/>
              </a:spcBef>
              <a:defRPr/>
            </a:pPr>
            <a:r>
              <a:rPr lang="en-US" sz="1568">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ontent packs</a:t>
            </a:r>
          </a:p>
        </p:txBody>
      </p:sp>
      <p:sp>
        <p:nvSpPr>
          <p:cNvPr id="85" name="Rectangle 84">
            <a:extLst>
              <a:ext uri="{FF2B5EF4-FFF2-40B4-BE49-F238E27FC236}">
                <a16:creationId xmlns:a16="http://schemas.microsoft.com/office/drawing/2014/main" id="{706B7CC0-8047-49C2-87B5-747980C77F39}"/>
              </a:ext>
            </a:extLst>
          </p:cNvPr>
          <p:cNvSpPr/>
          <p:nvPr/>
        </p:nvSpPr>
        <p:spPr>
          <a:xfrm>
            <a:off x="1055125" y="4498901"/>
            <a:ext cx="2905589" cy="217243"/>
          </a:xfrm>
          <a:prstGeom prst="rect">
            <a:avLst/>
          </a:prstGeom>
        </p:spPr>
        <p:txBody>
          <a:bodyPr wrap="square" lIns="89642" tIns="0" bIns="0" anchor="ctr" anchorCtr="0">
            <a:spAutoFit/>
          </a:bodyPr>
          <a:lstStyle/>
          <a:p>
            <a:pPr marL="0" lvl="1" defTabSz="914192">
              <a:lnSpc>
                <a:spcPct val="90000"/>
              </a:lnSpc>
              <a:spcBef>
                <a:spcPts val="588"/>
              </a:spcBef>
              <a:defRPr/>
            </a:pPr>
            <a:r>
              <a:rPr lang="en-US" sz="1568">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Quick Insight</a:t>
            </a:r>
          </a:p>
        </p:txBody>
      </p:sp>
      <p:sp>
        <p:nvSpPr>
          <p:cNvPr id="86" name="Rectangle 85">
            <a:extLst>
              <a:ext uri="{FF2B5EF4-FFF2-40B4-BE49-F238E27FC236}">
                <a16:creationId xmlns:a16="http://schemas.microsoft.com/office/drawing/2014/main" id="{3944772D-25AF-4BE1-86EA-5D478EE03756}"/>
              </a:ext>
            </a:extLst>
          </p:cNvPr>
          <p:cNvSpPr/>
          <p:nvPr/>
        </p:nvSpPr>
        <p:spPr>
          <a:xfrm>
            <a:off x="1055125" y="2325232"/>
            <a:ext cx="2905589" cy="217243"/>
          </a:xfrm>
          <a:prstGeom prst="rect">
            <a:avLst/>
          </a:prstGeom>
        </p:spPr>
        <p:txBody>
          <a:bodyPr wrap="square" tIns="0" bIns="0" anchor="ctr" anchorCtr="0">
            <a:spAutoFit/>
          </a:bodyPr>
          <a:lstStyle/>
          <a:p>
            <a:pPr marL="0" lvl="1" defTabSz="914192">
              <a:lnSpc>
                <a:spcPct val="90000"/>
              </a:lnSpc>
              <a:spcBef>
                <a:spcPts val="588"/>
              </a:spcBef>
              <a:defRPr/>
            </a:pPr>
            <a:r>
              <a:rPr lang="en-US" sz="1568">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Deployment</a:t>
            </a:r>
          </a:p>
        </p:txBody>
      </p:sp>
      <p:sp>
        <p:nvSpPr>
          <p:cNvPr id="87" name="Rectangle 86">
            <a:extLst>
              <a:ext uri="{FF2B5EF4-FFF2-40B4-BE49-F238E27FC236}">
                <a16:creationId xmlns:a16="http://schemas.microsoft.com/office/drawing/2014/main" id="{5A650F9A-E3F2-4F7C-B73E-F082D81567B0}"/>
              </a:ext>
            </a:extLst>
          </p:cNvPr>
          <p:cNvSpPr/>
          <p:nvPr/>
        </p:nvSpPr>
        <p:spPr>
          <a:xfrm>
            <a:off x="1055125" y="2759966"/>
            <a:ext cx="2905589" cy="217243"/>
          </a:xfrm>
          <a:prstGeom prst="rect">
            <a:avLst/>
          </a:prstGeom>
        </p:spPr>
        <p:txBody>
          <a:bodyPr wrap="square" tIns="0" bIns="0" anchor="ctr" anchorCtr="0">
            <a:spAutoFit/>
          </a:bodyPr>
          <a:lstStyle/>
          <a:p>
            <a:pPr marL="0" lvl="1" defTabSz="914192">
              <a:lnSpc>
                <a:spcPct val="90000"/>
              </a:lnSpc>
              <a:spcBef>
                <a:spcPts val="588"/>
              </a:spcBef>
              <a:defRPr/>
            </a:pPr>
            <a:r>
              <a:rPr lang="en-US" sz="1568">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Power BI reports</a:t>
            </a:r>
          </a:p>
        </p:txBody>
      </p:sp>
      <p:sp>
        <p:nvSpPr>
          <p:cNvPr id="88" name="Rectangle 87">
            <a:extLst>
              <a:ext uri="{FF2B5EF4-FFF2-40B4-BE49-F238E27FC236}">
                <a16:creationId xmlns:a16="http://schemas.microsoft.com/office/drawing/2014/main" id="{D084FF87-E9D0-4F24-852A-AA6C1327E25D}"/>
              </a:ext>
            </a:extLst>
          </p:cNvPr>
          <p:cNvSpPr/>
          <p:nvPr/>
        </p:nvSpPr>
        <p:spPr>
          <a:xfrm>
            <a:off x="1055125" y="3194700"/>
            <a:ext cx="2905589" cy="217243"/>
          </a:xfrm>
          <a:prstGeom prst="rect">
            <a:avLst/>
          </a:prstGeom>
        </p:spPr>
        <p:txBody>
          <a:bodyPr wrap="square" tIns="0" bIns="0" anchor="ctr" anchorCtr="0">
            <a:spAutoFit/>
          </a:bodyPr>
          <a:lstStyle/>
          <a:p>
            <a:pPr marL="0" lvl="1" defTabSz="914192">
              <a:lnSpc>
                <a:spcPct val="90000"/>
              </a:lnSpc>
              <a:spcBef>
                <a:spcPts val="588"/>
              </a:spcBef>
              <a:defRPr/>
            </a:pPr>
            <a:r>
              <a:rPr lang="en-US" sz="1568">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Real-time dashboards</a:t>
            </a:r>
          </a:p>
        </p:txBody>
      </p:sp>
      <p:sp>
        <p:nvSpPr>
          <p:cNvPr id="89" name="Rectangle 88">
            <a:extLst>
              <a:ext uri="{FF2B5EF4-FFF2-40B4-BE49-F238E27FC236}">
                <a16:creationId xmlns:a16="http://schemas.microsoft.com/office/drawing/2014/main" id="{0609D319-B0FD-42A6-9D8B-7CC281D89C11}"/>
              </a:ext>
            </a:extLst>
          </p:cNvPr>
          <p:cNvSpPr/>
          <p:nvPr/>
        </p:nvSpPr>
        <p:spPr>
          <a:xfrm>
            <a:off x="1055125" y="4064167"/>
            <a:ext cx="2905589" cy="217243"/>
          </a:xfrm>
          <a:prstGeom prst="rect">
            <a:avLst/>
          </a:prstGeom>
        </p:spPr>
        <p:txBody>
          <a:bodyPr wrap="square" lIns="89642" tIns="0" bIns="0" anchor="ctr" anchorCtr="0">
            <a:spAutoFit/>
          </a:bodyPr>
          <a:lstStyle/>
          <a:p>
            <a:pPr marL="0" lvl="1" defTabSz="914192">
              <a:lnSpc>
                <a:spcPct val="90000"/>
              </a:lnSpc>
              <a:spcBef>
                <a:spcPts val="588"/>
              </a:spcBef>
              <a:defRPr/>
            </a:pPr>
            <a:r>
              <a:rPr lang="en-US" sz="1568">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Q&amp;A</a:t>
            </a:r>
          </a:p>
        </p:txBody>
      </p:sp>
      <p:sp>
        <p:nvSpPr>
          <p:cNvPr id="90" name="Rectangle 89">
            <a:extLst>
              <a:ext uri="{FF2B5EF4-FFF2-40B4-BE49-F238E27FC236}">
                <a16:creationId xmlns:a16="http://schemas.microsoft.com/office/drawing/2014/main" id="{72E6748E-70E9-4E24-9234-10FCA5DF7680}"/>
              </a:ext>
            </a:extLst>
          </p:cNvPr>
          <p:cNvSpPr/>
          <p:nvPr/>
        </p:nvSpPr>
        <p:spPr>
          <a:xfrm>
            <a:off x="9454560" y="1736697"/>
            <a:ext cx="1726938" cy="470693"/>
          </a:xfrm>
          <a:prstGeom prst="rect">
            <a:avLst/>
          </a:prstGeom>
        </p:spPr>
        <p:txBody>
          <a:bodyPr wrap="square">
            <a:spAutoFit/>
          </a:bodyPr>
          <a:lstStyle/>
          <a:p>
            <a:pPr marL="0" lvl="1" algn="ctr" defTabSz="914178" fontAlgn="base">
              <a:lnSpc>
                <a:spcPct val="90000"/>
              </a:lnSpc>
              <a:spcBef>
                <a:spcPct val="0"/>
              </a:spcBef>
              <a:spcAft>
                <a:spcPct val="0"/>
              </a:spcAft>
              <a:defRPr/>
            </a:pPr>
            <a:r>
              <a:rPr lang="en-US" sz="1372">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Power BI               Embedded</a:t>
            </a:r>
          </a:p>
        </p:txBody>
      </p:sp>
      <p:sp>
        <p:nvSpPr>
          <p:cNvPr id="95" name="Rectangle 94">
            <a:extLst>
              <a:ext uri="{FF2B5EF4-FFF2-40B4-BE49-F238E27FC236}">
                <a16:creationId xmlns:a16="http://schemas.microsoft.com/office/drawing/2014/main" id="{E8484F5D-E68B-43E0-923F-CAA604E5C031}"/>
              </a:ext>
            </a:extLst>
          </p:cNvPr>
          <p:cNvSpPr/>
          <p:nvPr/>
        </p:nvSpPr>
        <p:spPr bwMode="auto">
          <a:xfrm>
            <a:off x="5586336" y="2228601"/>
            <a:ext cx="1703207"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defTabSz="913927" fontAlgn="base">
              <a:spcBef>
                <a:spcPct val="0"/>
              </a:spcBef>
              <a:spcAft>
                <a:spcPct val="0"/>
              </a:spcAft>
              <a:defRPr/>
            </a:pPr>
            <a:endParaRPr lang="en-US" sz="1961">
              <a:gradFill>
                <a:gsLst>
                  <a:gs pos="5439">
                    <a:srgbClr val="F8F8F8"/>
                  </a:gs>
                  <a:gs pos="10000">
                    <a:srgbClr val="F8F8F8"/>
                  </a:gs>
                </a:gsLst>
                <a:lin ang="5400000" scaled="0"/>
              </a:gradFill>
              <a:latin typeface="Segoe UI"/>
            </a:endParaRPr>
          </a:p>
        </p:txBody>
      </p:sp>
      <p:sp>
        <p:nvSpPr>
          <p:cNvPr id="96" name="Rectangle 95">
            <a:extLst>
              <a:ext uri="{FF2B5EF4-FFF2-40B4-BE49-F238E27FC236}">
                <a16:creationId xmlns:a16="http://schemas.microsoft.com/office/drawing/2014/main" id="{76A07132-75D6-49B3-90D4-42652971553D}"/>
              </a:ext>
            </a:extLst>
          </p:cNvPr>
          <p:cNvSpPr/>
          <p:nvPr/>
        </p:nvSpPr>
        <p:spPr bwMode="auto">
          <a:xfrm>
            <a:off x="5583394" y="2663333"/>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defTabSz="913927" fontAlgn="base">
              <a:spcBef>
                <a:spcPct val="0"/>
              </a:spcBef>
              <a:spcAft>
                <a:spcPct val="0"/>
              </a:spcAft>
              <a:defRPr/>
            </a:pPr>
            <a:endParaRPr lang="en-US" sz="1961">
              <a:gradFill>
                <a:gsLst>
                  <a:gs pos="5439">
                    <a:srgbClr val="F8F8F8"/>
                  </a:gs>
                  <a:gs pos="10000">
                    <a:srgbClr val="F8F8F8"/>
                  </a:gs>
                </a:gsLst>
                <a:lin ang="5400000" scaled="0"/>
              </a:gradFill>
              <a:latin typeface="Segoe UI"/>
            </a:endParaRPr>
          </a:p>
        </p:txBody>
      </p:sp>
      <p:sp>
        <p:nvSpPr>
          <p:cNvPr id="97" name="Rectangle 96">
            <a:extLst>
              <a:ext uri="{FF2B5EF4-FFF2-40B4-BE49-F238E27FC236}">
                <a16:creationId xmlns:a16="http://schemas.microsoft.com/office/drawing/2014/main" id="{6BB25478-75EB-40D3-82CB-F38ABC7F5602}"/>
              </a:ext>
            </a:extLst>
          </p:cNvPr>
          <p:cNvSpPr/>
          <p:nvPr/>
        </p:nvSpPr>
        <p:spPr bwMode="auto">
          <a:xfrm>
            <a:off x="5583394" y="3098066"/>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defTabSz="913927" fontAlgn="base">
              <a:spcBef>
                <a:spcPct val="0"/>
              </a:spcBef>
              <a:spcAft>
                <a:spcPct val="0"/>
              </a:spcAft>
              <a:defRPr/>
            </a:pPr>
            <a:endParaRPr lang="en-US" sz="1961">
              <a:gradFill>
                <a:gsLst>
                  <a:gs pos="5439">
                    <a:srgbClr val="F8F8F8"/>
                  </a:gs>
                  <a:gs pos="10000">
                    <a:srgbClr val="F8F8F8"/>
                  </a:gs>
                </a:gsLst>
                <a:lin ang="5400000" scaled="0"/>
              </a:gradFill>
              <a:latin typeface="Segoe UI"/>
            </a:endParaRPr>
          </a:p>
        </p:txBody>
      </p:sp>
      <p:sp>
        <p:nvSpPr>
          <p:cNvPr id="98" name="Rectangle 97">
            <a:extLst>
              <a:ext uri="{FF2B5EF4-FFF2-40B4-BE49-F238E27FC236}">
                <a16:creationId xmlns:a16="http://schemas.microsoft.com/office/drawing/2014/main" id="{9A68F35B-795C-4539-BF53-5FBA0D749161}"/>
              </a:ext>
            </a:extLst>
          </p:cNvPr>
          <p:cNvSpPr/>
          <p:nvPr/>
        </p:nvSpPr>
        <p:spPr bwMode="auto">
          <a:xfrm>
            <a:off x="5583394" y="3532799"/>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99" name="Rectangle 98">
            <a:extLst>
              <a:ext uri="{FF2B5EF4-FFF2-40B4-BE49-F238E27FC236}">
                <a16:creationId xmlns:a16="http://schemas.microsoft.com/office/drawing/2014/main" id="{B547A8DA-0D48-49AA-A384-A1E9F6E34619}"/>
              </a:ext>
            </a:extLst>
          </p:cNvPr>
          <p:cNvSpPr/>
          <p:nvPr/>
        </p:nvSpPr>
        <p:spPr bwMode="auto">
          <a:xfrm>
            <a:off x="5583394" y="3967531"/>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01" name="Rectangle 100">
            <a:extLst>
              <a:ext uri="{FF2B5EF4-FFF2-40B4-BE49-F238E27FC236}">
                <a16:creationId xmlns:a16="http://schemas.microsoft.com/office/drawing/2014/main" id="{64AD087F-FAAC-457E-A77C-500CF9BC12AC}"/>
              </a:ext>
            </a:extLst>
          </p:cNvPr>
          <p:cNvSpPr/>
          <p:nvPr/>
        </p:nvSpPr>
        <p:spPr bwMode="auto">
          <a:xfrm>
            <a:off x="5583394" y="440226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02" name="Rectangle 101">
            <a:extLst>
              <a:ext uri="{FF2B5EF4-FFF2-40B4-BE49-F238E27FC236}">
                <a16:creationId xmlns:a16="http://schemas.microsoft.com/office/drawing/2014/main" id="{F19197E4-AED6-4CE7-AFCC-25EC86435194}"/>
              </a:ext>
            </a:extLst>
          </p:cNvPr>
          <p:cNvSpPr/>
          <p:nvPr/>
        </p:nvSpPr>
        <p:spPr bwMode="auto">
          <a:xfrm>
            <a:off x="5583394" y="4837000"/>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03" name="Rectangle 102">
            <a:extLst>
              <a:ext uri="{FF2B5EF4-FFF2-40B4-BE49-F238E27FC236}">
                <a16:creationId xmlns:a16="http://schemas.microsoft.com/office/drawing/2014/main" id="{E7F3DE26-4F6E-4B25-BA29-24D29144997B}"/>
              </a:ext>
            </a:extLst>
          </p:cNvPr>
          <p:cNvSpPr/>
          <p:nvPr/>
        </p:nvSpPr>
        <p:spPr>
          <a:xfrm>
            <a:off x="5585239" y="2319242"/>
            <a:ext cx="1705402" cy="280605"/>
          </a:xfrm>
          <a:prstGeom prst="rect">
            <a:avLst/>
          </a:prstGeom>
        </p:spPr>
        <p:txBody>
          <a:bodyPr wrap="square" anchor="t">
            <a:spAutoFit/>
          </a:bodyPr>
          <a:lstStyle/>
          <a:p>
            <a:pPr algn="ctr" defTabSz="914367">
              <a:lnSpc>
                <a:spcPct val="90000"/>
              </a:lnSpc>
              <a:spcBef>
                <a:spcPts val="587"/>
              </a:spcBef>
              <a:defRPr/>
            </a:pPr>
            <a:r>
              <a:rPr lang="en-US" sz="1372">
                <a:gradFill>
                  <a:gsLst>
                    <a:gs pos="2917">
                      <a:srgbClr val="353535"/>
                    </a:gs>
                    <a:gs pos="30000">
                      <a:srgbClr val="353535"/>
                    </a:gs>
                  </a:gsLst>
                  <a:lin ang="5400000" scaled="0"/>
                </a:gradFill>
                <a:latin typeface="Segoe UI Semilight" panose="020B0402040204020203" pitchFamily="34" charset="0"/>
                <a:cs typeface="Segoe UI Semilight" panose="020B0402040204020203" pitchFamily="34" charset="0"/>
              </a:rPr>
              <a:t>On-premises</a:t>
            </a:r>
          </a:p>
        </p:txBody>
      </p:sp>
      <p:sp>
        <p:nvSpPr>
          <p:cNvPr id="119" name="Rectangle 118">
            <a:extLst>
              <a:ext uri="{FF2B5EF4-FFF2-40B4-BE49-F238E27FC236}">
                <a16:creationId xmlns:a16="http://schemas.microsoft.com/office/drawing/2014/main" id="{3FF9713D-47B1-4C0F-8FEB-710CD1C1D2E6}"/>
              </a:ext>
            </a:extLst>
          </p:cNvPr>
          <p:cNvSpPr/>
          <p:nvPr/>
        </p:nvSpPr>
        <p:spPr bwMode="auto">
          <a:xfrm>
            <a:off x="7532723" y="2228601"/>
            <a:ext cx="1703207"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defTabSz="913927" fontAlgn="base">
              <a:spcBef>
                <a:spcPct val="0"/>
              </a:spcBef>
              <a:spcAft>
                <a:spcPct val="0"/>
              </a:spcAft>
              <a:defRPr/>
            </a:pPr>
            <a:endParaRPr lang="en-US" sz="1961">
              <a:gradFill>
                <a:gsLst>
                  <a:gs pos="5439">
                    <a:srgbClr val="F8F8F8"/>
                  </a:gs>
                  <a:gs pos="10000">
                    <a:srgbClr val="F8F8F8"/>
                  </a:gs>
                </a:gsLst>
                <a:lin ang="5400000" scaled="0"/>
              </a:gradFill>
              <a:latin typeface="Segoe UI"/>
            </a:endParaRPr>
          </a:p>
        </p:txBody>
      </p:sp>
      <p:sp>
        <p:nvSpPr>
          <p:cNvPr id="120" name="Rectangle 119">
            <a:extLst>
              <a:ext uri="{FF2B5EF4-FFF2-40B4-BE49-F238E27FC236}">
                <a16:creationId xmlns:a16="http://schemas.microsoft.com/office/drawing/2014/main" id="{07EB8659-AA0A-4EE3-B879-3250A013D1FF}"/>
              </a:ext>
            </a:extLst>
          </p:cNvPr>
          <p:cNvSpPr/>
          <p:nvPr/>
        </p:nvSpPr>
        <p:spPr bwMode="auto">
          <a:xfrm>
            <a:off x="7529781" y="2663333"/>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defTabSz="913927" fontAlgn="base">
              <a:spcBef>
                <a:spcPct val="0"/>
              </a:spcBef>
              <a:spcAft>
                <a:spcPct val="0"/>
              </a:spcAft>
              <a:defRPr/>
            </a:pPr>
            <a:endParaRPr lang="en-US" sz="1961">
              <a:gradFill>
                <a:gsLst>
                  <a:gs pos="5439">
                    <a:srgbClr val="F8F8F8"/>
                  </a:gs>
                  <a:gs pos="10000">
                    <a:srgbClr val="F8F8F8"/>
                  </a:gs>
                </a:gsLst>
                <a:lin ang="5400000" scaled="0"/>
              </a:gradFill>
              <a:latin typeface="Segoe UI"/>
            </a:endParaRPr>
          </a:p>
        </p:txBody>
      </p:sp>
      <p:sp>
        <p:nvSpPr>
          <p:cNvPr id="121" name="Rectangle 120">
            <a:extLst>
              <a:ext uri="{FF2B5EF4-FFF2-40B4-BE49-F238E27FC236}">
                <a16:creationId xmlns:a16="http://schemas.microsoft.com/office/drawing/2014/main" id="{7B19191C-5B98-48E7-9029-AF9324B2B679}"/>
              </a:ext>
            </a:extLst>
          </p:cNvPr>
          <p:cNvSpPr/>
          <p:nvPr/>
        </p:nvSpPr>
        <p:spPr bwMode="auto">
          <a:xfrm>
            <a:off x="7529781" y="3098066"/>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defTabSz="913927" fontAlgn="base">
              <a:spcBef>
                <a:spcPct val="0"/>
              </a:spcBef>
              <a:spcAft>
                <a:spcPct val="0"/>
              </a:spcAft>
              <a:defRPr/>
            </a:pPr>
            <a:endParaRPr lang="en-US" sz="1961">
              <a:gradFill>
                <a:gsLst>
                  <a:gs pos="5439">
                    <a:srgbClr val="F8F8F8"/>
                  </a:gs>
                  <a:gs pos="10000">
                    <a:srgbClr val="F8F8F8"/>
                  </a:gs>
                </a:gsLst>
                <a:lin ang="5400000" scaled="0"/>
              </a:gradFill>
              <a:latin typeface="Segoe UI"/>
            </a:endParaRPr>
          </a:p>
        </p:txBody>
      </p:sp>
      <p:sp>
        <p:nvSpPr>
          <p:cNvPr id="122" name="Rectangle 121">
            <a:extLst>
              <a:ext uri="{FF2B5EF4-FFF2-40B4-BE49-F238E27FC236}">
                <a16:creationId xmlns:a16="http://schemas.microsoft.com/office/drawing/2014/main" id="{9D33FF1F-B807-4975-A93F-EE0F835AB573}"/>
              </a:ext>
            </a:extLst>
          </p:cNvPr>
          <p:cNvSpPr/>
          <p:nvPr/>
        </p:nvSpPr>
        <p:spPr bwMode="auto">
          <a:xfrm>
            <a:off x="7529781" y="3532799"/>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23" name="Rectangle 122">
            <a:extLst>
              <a:ext uri="{FF2B5EF4-FFF2-40B4-BE49-F238E27FC236}">
                <a16:creationId xmlns:a16="http://schemas.microsoft.com/office/drawing/2014/main" id="{594051B3-BFA5-4295-805B-89D051E1BEFF}"/>
              </a:ext>
            </a:extLst>
          </p:cNvPr>
          <p:cNvSpPr/>
          <p:nvPr/>
        </p:nvSpPr>
        <p:spPr bwMode="auto">
          <a:xfrm>
            <a:off x="7529781" y="3967531"/>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26" name="Rectangle 125">
            <a:extLst>
              <a:ext uri="{FF2B5EF4-FFF2-40B4-BE49-F238E27FC236}">
                <a16:creationId xmlns:a16="http://schemas.microsoft.com/office/drawing/2014/main" id="{B82D0F6D-1563-4890-9B3F-85F55BE71569}"/>
              </a:ext>
            </a:extLst>
          </p:cNvPr>
          <p:cNvSpPr/>
          <p:nvPr/>
        </p:nvSpPr>
        <p:spPr bwMode="auto">
          <a:xfrm>
            <a:off x="7529781" y="440226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27" name="Rectangle 126">
            <a:extLst>
              <a:ext uri="{FF2B5EF4-FFF2-40B4-BE49-F238E27FC236}">
                <a16:creationId xmlns:a16="http://schemas.microsoft.com/office/drawing/2014/main" id="{A61AD07D-D04C-44E5-A1EE-977702DBFB32}"/>
              </a:ext>
            </a:extLst>
          </p:cNvPr>
          <p:cNvSpPr/>
          <p:nvPr/>
        </p:nvSpPr>
        <p:spPr bwMode="auto">
          <a:xfrm>
            <a:off x="7529781" y="4837000"/>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28" name="Rectangle 127">
            <a:extLst>
              <a:ext uri="{FF2B5EF4-FFF2-40B4-BE49-F238E27FC236}">
                <a16:creationId xmlns:a16="http://schemas.microsoft.com/office/drawing/2014/main" id="{F50AFDF2-9115-46D0-8B44-B21BB7A26238}"/>
              </a:ext>
            </a:extLst>
          </p:cNvPr>
          <p:cNvSpPr/>
          <p:nvPr/>
        </p:nvSpPr>
        <p:spPr>
          <a:xfrm>
            <a:off x="7531626" y="2319242"/>
            <a:ext cx="1705402" cy="280605"/>
          </a:xfrm>
          <a:prstGeom prst="rect">
            <a:avLst/>
          </a:prstGeom>
        </p:spPr>
        <p:txBody>
          <a:bodyPr wrap="square" anchor="t">
            <a:spAutoFit/>
          </a:bodyPr>
          <a:lstStyle/>
          <a:p>
            <a:pPr algn="ctr" defTabSz="914367">
              <a:lnSpc>
                <a:spcPct val="90000"/>
              </a:lnSpc>
              <a:spcBef>
                <a:spcPts val="587"/>
              </a:spcBef>
              <a:defRPr/>
            </a:pPr>
            <a:r>
              <a:rPr lang="en-US" sz="1372">
                <a:gradFill>
                  <a:gsLst>
                    <a:gs pos="2917">
                      <a:srgbClr val="353535"/>
                    </a:gs>
                    <a:gs pos="30000">
                      <a:srgbClr val="353535"/>
                    </a:gs>
                  </a:gsLst>
                  <a:lin ang="5400000" scaled="0"/>
                </a:gradFill>
                <a:latin typeface="Segoe UI Semilight" panose="020B0402040204020203" pitchFamily="34" charset="0"/>
                <a:cs typeface="Segoe UI Semilight" panose="020B0402040204020203" pitchFamily="34" charset="0"/>
              </a:rPr>
              <a:t>Cloud</a:t>
            </a:r>
          </a:p>
        </p:txBody>
      </p:sp>
      <p:sp>
        <p:nvSpPr>
          <p:cNvPr id="134" name="Rectangle 133">
            <a:extLst>
              <a:ext uri="{FF2B5EF4-FFF2-40B4-BE49-F238E27FC236}">
                <a16:creationId xmlns:a16="http://schemas.microsoft.com/office/drawing/2014/main" id="{7B0CE058-DC5D-43FF-906E-B5BD0AD8F4AA}"/>
              </a:ext>
            </a:extLst>
          </p:cNvPr>
          <p:cNvSpPr/>
          <p:nvPr/>
        </p:nvSpPr>
        <p:spPr bwMode="auto">
          <a:xfrm>
            <a:off x="9466424" y="2228601"/>
            <a:ext cx="1703207"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defTabSz="913927" fontAlgn="base">
              <a:spcBef>
                <a:spcPct val="0"/>
              </a:spcBef>
              <a:spcAft>
                <a:spcPct val="0"/>
              </a:spcAft>
              <a:defRPr/>
            </a:pPr>
            <a:endParaRPr lang="en-US" sz="1961">
              <a:gradFill>
                <a:gsLst>
                  <a:gs pos="5439">
                    <a:srgbClr val="F8F8F8"/>
                  </a:gs>
                  <a:gs pos="10000">
                    <a:srgbClr val="F8F8F8"/>
                  </a:gs>
                </a:gsLst>
                <a:lin ang="5400000" scaled="0"/>
              </a:gradFill>
              <a:latin typeface="Segoe UI"/>
            </a:endParaRPr>
          </a:p>
        </p:txBody>
      </p:sp>
      <p:sp>
        <p:nvSpPr>
          <p:cNvPr id="135" name="Rectangle 134">
            <a:extLst>
              <a:ext uri="{FF2B5EF4-FFF2-40B4-BE49-F238E27FC236}">
                <a16:creationId xmlns:a16="http://schemas.microsoft.com/office/drawing/2014/main" id="{82C473FD-0B7B-48FC-AA62-988B9885BCE9}"/>
              </a:ext>
            </a:extLst>
          </p:cNvPr>
          <p:cNvSpPr/>
          <p:nvPr/>
        </p:nvSpPr>
        <p:spPr bwMode="auto">
          <a:xfrm>
            <a:off x="9463482" y="2663333"/>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defTabSz="913927" fontAlgn="base">
              <a:spcBef>
                <a:spcPct val="0"/>
              </a:spcBef>
              <a:spcAft>
                <a:spcPct val="0"/>
              </a:spcAft>
              <a:defRPr/>
            </a:pPr>
            <a:endParaRPr lang="en-US" sz="1961">
              <a:gradFill>
                <a:gsLst>
                  <a:gs pos="5439">
                    <a:srgbClr val="F8F8F8"/>
                  </a:gs>
                  <a:gs pos="10000">
                    <a:srgbClr val="F8F8F8"/>
                  </a:gs>
                </a:gsLst>
                <a:lin ang="5400000" scaled="0"/>
              </a:gradFill>
              <a:latin typeface="Segoe UI"/>
            </a:endParaRPr>
          </a:p>
        </p:txBody>
      </p:sp>
      <p:sp>
        <p:nvSpPr>
          <p:cNvPr id="136" name="Rectangle 135">
            <a:extLst>
              <a:ext uri="{FF2B5EF4-FFF2-40B4-BE49-F238E27FC236}">
                <a16:creationId xmlns:a16="http://schemas.microsoft.com/office/drawing/2014/main" id="{F50B4FA9-43E4-4CF5-8137-B784E65819F4}"/>
              </a:ext>
            </a:extLst>
          </p:cNvPr>
          <p:cNvSpPr/>
          <p:nvPr/>
        </p:nvSpPr>
        <p:spPr bwMode="auto">
          <a:xfrm>
            <a:off x="9463482" y="3098066"/>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defTabSz="913927" fontAlgn="base">
              <a:spcBef>
                <a:spcPct val="0"/>
              </a:spcBef>
              <a:spcAft>
                <a:spcPct val="0"/>
              </a:spcAft>
              <a:defRPr/>
            </a:pPr>
            <a:endParaRPr lang="en-US" sz="1961">
              <a:gradFill>
                <a:gsLst>
                  <a:gs pos="5439">
                    <a:srgbClr val="F8F8F8"/>
                  </a:gs>
                  <a:gs pos="10000">
                    <a:srgbClr val="F8F8F8"/>
                  </a:gs>
                </a:gsLst>
                <a:lin ang="5400000" scaled="0"/>
              </a:gradFill>
              <a:latin typeface="Segoe UI"/>
            </a:endParaRPr>
          </a:p>
        </p:txBody>
      </p:sp>
      <p:sp>
        <p:nvSpPr>
          <p:cNvPr id="137" name="Rectangle 136">
            <a:extLst>
              <a:ext uri="{FF2B5EF4-FFF2-40B4-BE49-F238E27FC236}">
                <a16:creationId xmlns:a16="http://schemas.microsoft.com/office/drawing/2014/main" id="{98DF5D0B-5F86-4DF8-B85D-354AAFE5D04D}"/>
              </a:ext>
            </a:extLst>
          </p:cNvPr>
          <p:cNvSpPr/>
          <p:nvPr/>
        </p:nvSpPr>
        <p:spPr bwMode="auto">
          <a:xfrm>
            <a:off x="9463482" y="3532799"/>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38" name="Rectangle 137">
            <a:extLst>
              <a:ext uri="{FF2B5EF4-FFF2-40B4-BE49-F238E27FC236}">
                <a16:creationId xmlns:a16="http://schemas.microsoft.com/office/drawing/2014/main" id="{C3A79D33-6FD8-4E1D-9082-5A4862CAF058}"/>
              </a:ext>
            </a:extLst>
          </p:cNvPr>
          <p:cNvSpPr/>
          <p:nvPr/>
        </p:nvSpPr>
        <p:spPr bwMode="auto">
          <a:xfrm>
            <a:off x="9463482" y="3967531"/>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39" name="Rectangle 138">
            <a:extLst>
              <a:ext uri="{FF2B5EF4-FFF2-40B4-BE49-F238E27FC236}">
                <a16:creationId xmlns:a16="http://schemas.microsoft.com/office/drawing/2014/main" id="{F100038C-C0C3-4FFA-B1E7-39894245DA33}"/>
              </a:ext>
            </a:extLst>
          </p:cNvPr>
          <p:cNvSpPr/>
          <p:nvPr/>
        </p:nvSpPr>
        <p:spPr bwMode="auto">
          <a:xfrm>
            <a:off x="9463482" y="440226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40" name="Rectangle 139">
            <a:extLst>
              <a:ext uri="{FF2B5EF4-FFF2-40B4-BE49-F238E27FC236}">
                <a16:creationId xmlns:a16="http://schemas.microsoft.com/office/drawing/2014/main" id="{204C5E59-B718-46C9-A1E9-BEEE88FAD54E}"/>
              </a:ext>
            </a:extLst>
          </p:cNvPr>
          <p:cNvSpPr/>
          <p:nvPr/>
        </p:nvSpPr>
        <p:spPr bwMode="auto">
          <a:xfrm>
            <a:off x="9463482" y="4837000"/>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41" name="Rectangle 140">
            <a:extLst>
              <a:ext uri="{FF2B5EF4-FFF2-40B4-BE49-F238E27FC236}">
                <a16:creationId xmlns:a16="http://schemas.microsoft.com/office/drawing/2014/main" id="{9EAAA468-7041-47C3-B06D-C3A66139D375}"/>
              </a:ext>
            </a:extLst>
          </p:cNvPr>
          <p:cNvSpPr/>
          <p:nvPr/>
        </p:nvSpPr>
        <p:spPr>
          <a:xfrm>
            <a:off x="9465328" y="2319242"/>
            <a:ext cx="1705402" cy="280605"/>
          </a:xfrm>
          <a:prstGeom prst="rect">
            <a:avLst/>
          </a:prstGeom>
        </p:spPr>
        <p:txBody>
          <a:bodyPr wrap="square" anchor="t">
            <a:spAutoFit/>
          </a:bodyPr>
          <a:lstStyle/>
          <a:p>
            <a:pPr algn="ctr" defTabSz="914367">
              <a:lnSpc>
                <a:spcPct val="90000"/>
              </a:lnSpc>
              <a:spcBef>
                <a:spcPts val="587"/>
              </a:spcBef>
              <a:defRPr/>
            </a:pPr>
            <a:r>
              <a:rPr lang="en-US" sz="1372">
                <a:gradFill>
                  <a:gsLst>
                    <a:gs pos="2917">
                      <a:srgbClr val="353535"/>
                    </a:gs>
                    <a:gs pos="30000">
                      <a:srgbClr val="353535"/>
                    </a:gs>
                  </a:gsLst>
                  <a:lin ang="5400000" scaled="0"/>
                </a:gradFill>
                <a:latin typeface="Segoe UI Semilight" panose="020B0402040204020203" pitchFamily="34" charset="0"/>
                <a:cs typeface="Segoe UI Semilight" panose="020B0402040204020203" pitchFamily="34" charset="0"/>
              </a:rPr>
              <a:t>Cloud</a:t>
            </a:r>
          </a:p>
        </p:txBody>
      </p:sp>
      <p:sp>
        <p:nvSpPr>
          <p:cNvPr id="147" name="Rectangle 146">
            <a:extLst>
              <a:ext uri="{FF2B5EF4-FFF2-40B4-BE49-F238E27FC236}">
                <a16:creationId xmlns:a16="http://schemas.microsoft.com/office/drawing/2014/main" id="{33A80D5B-97A6-471A-BEAC-63ACD12071BC}"/>
              </a:ext>
            </a:extLst>
          </p:cNvPr>
          <p:cNvSpPr/>
          <p:nvPr/>
        </p:nvSpPr>
        <p:spPr>
          <a:xfrm>
            <a:off x="3615273" y="1736697"/>
            <a:ext cx="1738005" cy="470693"/>
          </a:xfrm>
          <a:prstGeom prst="rect">
            <a:avLst/>
          </a:prstGeom>
        </p:spPr>
        <p:txBody>
          <a:bodyPr wrap="square">
            <a:spAutoFit/>
          </a:bodyPr>
          <a:lstStyle/>
          <a:p>
            <a:pPr marL="0" lvl="1" algn="ctr" defTabSz="914178" fontAlgn="base">
              <a:lnSpc>
                <a:spcPct val="90000"/>
              </a:lnSpc>
              <a:spcBef>
                <a:spcPct val="0"/>
              </a:spcBef>
              <a:spcAft>
                <a:spcPct val="0"/>
              </a:spcAft>
              <a:defRPr/>
            </a:pPr>
            <a:r>
              <a:rPr lang="en-US" sz="1372">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SQL Server </a:t>
            </a:r>
            <a:br>
              <a:rPr lang="en-US" sz="1372">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br>
            <a:r>
              <a:rPr lang="en-US" sz="1372">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Reporting Services</a:t>
            </a:r>
          </a:p>
        </p:txBody>
      </p:sp>
      <p:sp>
        <p:nvSpPr>
          <p:cNvPr id="149" name="Rectangle 148">
            <a:extLst>
              <a:ext uri="{FF2B5EF4-FFF2-40B4-BE49-F238E27FC236}">
                <a16:creationId xmlns:a16="http://schemas.microsoft.com/office/drawing/2014/main" id="{14133759-ACFA-4609-8E20-8E3F4E1D9D23}"/>
              </a:ext>
            </a:extLst>
          </p:cNvPr>
          <p:cNvSpPr/>
          <p:nvPr/>
        </p:nvSpPr>
        <p:spPr bwMode="auto">
          <a:xfrm>
            <a:off x="3632672" y="2228601"/>
            <a:ext cx="1703207"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defTabSz="913927" fontAlgn="base">
              <a:spcBef>
                <a:spcPct val="0"/>
              </a:spcBef>
              <a:spcAft>
                <a:spcPct val="0"/>
              </a:spcAft>
              <a:defRPr/>
            </a:pPr>
            <a:endParaRPr lang="en-US" sz="1961">
              <a:gradFill>
                <a:gsLst>
                  <a:gs pos="5439">
                    <a:srgbClr val="F8F8F8"/>
                  </a:gs>
                  <a:gs pos="10000">
                    <a:srgbClr val="F8F8F8"/>
                  </a:gs>
                </a:gsLst>
                <a:lin ang="5400000" scaled="0"/>
              </a:gradFill>
              <a:latin typeface="Segoe UI"/>
            </a:endParaRPr>
          </a:p>
        </p:txBody>
      </p:sp>
      <p:sp>
        <p:nvSpPr>
          <p:cNvPr id="150" name="Rectangle 149">
            <a:extLst>
              <a:ext uri="{FF2B5EF4-FFF2-40B4-BE49-F238E27FC236}">
                <a16:creationId xmlns:a16="http://schemas.microsoft.com/office/drawing/2014/main" id="{A60BA54C-883F-4354-8D4E-D28A99FED8D8}"/>
              </a:ext>
            </a:extLst>
          </p:cNvPr>
          <p:cNvSpPr/>
          <p:nvPr/>
        </p:nvSpPr>
        <p:spPr bwMode="auto">
          <a:xfrm>
            <a:off x="3629730" y="2663333"/>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defTabSz="913927" fontAlgn="base">
              <a:spcBef>
                <a:spcPct val="0"/>
              </a:spcBef>
              <a:spcAft>
                <a:spcPct val="0"/>
              </a:spcAft>
              <a:defRPr/>
            </a:pPr>
            <a:endParaRPr lang="en-US" sz="1961">
              <a:gradFill>
                <a:gsLst>
                  <a:gs pos="5439">
                    <a:srgbClr val="F8F8F8"/>
                  </a:gs>
                  <a:gs pos="10000">
                    <a:srgbClr val="F8F8F8"/>
                  </a:gs>
                </a:gsLst>
                <a:lin ang="5400000" scaled="0"/>
              </a:gradFill>
              <a:latin typeface="Segoe UI"/>
            </a:endParaRPr>
          </a:p>
        </p:txBody>
      </p:sp>
      <p:sp>
        <p:nvSpPr>
          <p:cNvPr id="151" name="Rectangle 150">
            <a:extLst>
              <a:ext uri="{FF2B5EF4-FFF2-40B4-BE49-F238E27FC236}">
                <a16:creationId xmlns:a16="http://schemas.microsoft.com/office/drawing/2014/main" id="{DC87570C-9CA1-4829-B4F6-CFCB64E75A87}"/>
              </a:ext>
            </a:extLst>
          </p:cNvPr>
          <p:cNvSpPr/>
          <p:nvPr/>
        </p:nvSpPr>
        <p:spPr bwMode="auto">
          <a:xfrm>
            <a:off x="3629730" y="3098066"/>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defTabSz="913927" fontAlgn="base">
              <a:spcBef>
                <a:spcPct val="0"/>
              </a:spcBef>
              <a:spcAft>
                <a:spcPct val="0"/>
              </a:spcAft>
              <a:defRPr/>
            </a:pPr>
            <a:endParaRPr lang="en-US" sz="1961">
              <a:gradFill>
                <a:gsLst>
                  <a:gs pos="5439">
                    <a:srgbClr val="F8F8F8"/>
                  </a:gs>
                  <a:gs pos="10000">
                    <a:srgbClr val="F8F8F8"/>
                  </a:gs>
                </a:gsLst>
                <a:lin ang="5400000" scaled="0"/>
              </a:gradFill>
              <a:latin typeface="Segoe UI"/>
            </a:endParaRPr>
          </a:p>
        </p:txBody>
      </p:sp>
      <p:sp>
        <p:nvSpPr>
          <p:cNvPr id="152" name="Rectangle 151">
            <a:extLst>
              <a:ext uri="{FF2B5EF4-FFF2-40B4-BE49-F238E27FC236}">
                <a16:creationId xmlns:a16="http://schemas.microsoft.com/office/drawing/2014/main" id="{21139E3C-52AD-4D00-80DF-FF38161AD7E4}"/>
              </a:ext>
            </a:extLst>
          </p:cNvPr>
          <p:cNvSpPr/>
          <p:nvPr/>
        </p:nvSpPr>
        <p:spPr bwMode="auto">
          <a:xfrm>
            <a:off x="3629730" y="3532799"/>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53" name="Rectangle 152">
            <a:extLst>
              <a:ext uri="{FF2B5EF4-FFF2-40B4-BE49-F238E27FC236}">
                <a16:creationId xmlns:a16="http://schemas.microsoft.com/office/drawing/2014/main" id="{B79B7CD0-D443-439F-A8A1-664522AC035F}"/>
              </a:ext>
            </a:extLst>
          </p:cNvPr>
          <p:cNvSpPr/>
          <p:nvPr/>
        </p:nvSpPr>
        <p:spPr bwMode="auto">
          <a:xfrm>
            <a:off x="3629730" y="3967531"/>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54" name="Rectangle 153">
            <a:extLst>
              <a:ext uri="{FF2B5EF4-FFF2-40B4-BE49-F238E27FC236}">
                <a16:creationId xmlns:a16="http://schemas.microsoft.com/office/drawing/2014/main" id="{7ADC6D63-695D-4B38-8C80-E23C56D730CB}"/>
              </a:ext>
            </a:extLst>
          </p:cNvPr>
          <p:cNvSpPr/>
          <p:nvPr/>
        </p:nvSpPr>
        <p:spPr bwMode="auto">
          <a:xfrm>
            <a:off x="3629730" y="440226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55" name="Rectangle 154">
            <a:extLst>
              <a:ext uri="{FF2B5EF4-FFF2-40B4-BE49-F238E27FC236}">
                <a16:creationId xmlns:a16="http://schemas.microsoft.com/office/drawing/2014/main" id="{3C1683F7-7DF9-4AC3-86D1-C4DAAA8F1DE1}"/>
              </a:ext>
            </a:extLst>
          </p:cNvPr>
          <p:cNvSpPr/>
          <p:nvPr/>
        </p:nvSpPr>
        <p:spPr bwMode="auto">
          <a:xfrm>
            <a:off x="3629730" y="4837000"/>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56" name="Rectangle 155">
            <a:extLst>
              <a:ext uri="{FF2B5EF4-FFF2-40B4-BE49-F238E27FC236}">
                <a16:creationId xmlns:a16="http://schemas.microsoft.com/office/drawing/2014/main" id="{2EB163F8-60C6-4562-BD50-949575FC0F64}"/>
              </a:ext>
            </a:extLst>
          </p:cNvPr>
          <p:cNvSpPr/>
          <p:nvPr/>
        </p:nvSpPr>
        <p:spPr>
          <a:xfrm>
            <a:off x="3631575" y="2319242"/>
            <a:ext cx="1705402" cy="280605"/>
          </a:xfrm>
          <a:prstGeom prst="rect">
            <a:avLst/>
          </a:prstGeom>
        </p:spPr>
        <p:txBody>
          <a:bodyPr wrap="square" anchor="t">
            <a:spAutoFit/>
          </a:bodyPr>
          <a:lstStyle/>
          <a:p>
            <a:pPr algn="ctr" defTabSz="914367">
              <a:lnSpc>
                <a:spcPct val="90000"/>
              </a:lnSpc>
              <a:spcBef>
                <a:spcPts val="587"/>
              </a:spcBef>
              <a:defRPr/>
            </a:pPr>
            <a:r>
              <a:rPr lang="en-US" sz="1372">
                <a:gradFill>
                  <a:gsLst>
                    <a:gs pos="2917">
                      <a:srgbClr val="353535"/>
                    </a:gs>
                    <a:gs pos="30000">
                      <a:srgbClr val="353535"/>
                    </a:gs>
                  </a:gsLst>
                  <a:lin ang="5400000" scaled="0"/>
                </a:gradFill>
                <a:latin typeface="Segoe UI Semilight" panose="020B0402040204020203" pitchFamily="34" charset="0"/>
                <a:cs typeface="Segoe UI Semilight" panose="020B0402040204020203" pitchFamily="34" charset="0"/>
              </a:rPr>
              <a:t>On-premises</a:t>
            </a:r>
          </a:p>
        </p:txBody>
      </p:sp>
      <p:sp>
        <p:nvSpPr>
          <p:cNvPr id="162" name="Rectangle 161">
            <a:extLst>
              <a:ext uri="{FF2B5EF4-FFF2-40B4-BE49-F238E27FC236}">
                <a16:creationId xmlns:a16="http://schemas.microsoft.com/office/drawing/2014/main" id="{D7BF5FF6-897C-4F04-956B-94D4430D1E45}"/>
              </a:ext>
            </a:extLst>
          </p:cNvPr>
          <p:cNvSpPr/>
          <p:nvPr/>
        </p:nvSpPr>
        <p:spPr bwMode="auto">
          <a:xfrm>
            <a:off x="1065053" y="5243217"/>
            <a:ext cx="2241062"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63" name="Rectangle 162">
            <a:extLst>
              <a:ext uri="{FF2B5EF4-FFF2-40B4-BE49-F238E27FC236}">
                <a16:creationId xmlns:a16="http://schemas.microsoft.com/office/drawing/2014/main" id="{1DA874AC-40D6-40E1-A80C-422A5637319C}"/>
              </a:ext>
            </a:extLst>
          </p:cNvPr>
          <p:cNvSpPr/>
          <p:nvPr/>
        </p:nvSpPr>
        <p:spPr>
          <a:xfrm>
            <a:off x="1055125" y="4917232"/>
            <a:ext cx="2905589" cy="217243"/>
          </a:xfrm>
          <a:prstGeom prst="rect">
            <a:avLst/>
          </a:prstGeom>
        </p:spPr>
        <p:txBody>
          <a:bodyPr wrap="square" lIns="89642" tIns="0" bIns="0" anchor="ctr" anchorCtr="0">
            <a:spAutoFit/>
          </a:bodyPr>
          <a:lstStyle/>
          <a:p>
            <a:pPr marL="0" lvl="1" defTabSz="914192">
              <a:lnSpc>
                <a:spcPct val="90000"/>
              </a:lnSpc>
              <a:spcBef>
                <a:spcPts val="588"/>
              </a:spcBef>
              <a:defRPr/>
            </a:pPr>
            <a:r>
              <a:rPr lang="en-US" sz="1568">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Paginated reports</a:t>
            </a:r>
          </a:p>
        </p:txBody>
      </p:sp>
      <p:sp>
        <p:nvSpPr>
          <p:cNvPr id="164" name="Rectangle 163">
            <a:extLst>
              <a:ext uri="{FF2B5EF4-FFF2-40B4-BE49-F238E27FC236}">
                <a16:creationId xmlns:a16="http://schemas.microsoft.com/office/drawing/2014/main" id="{E8A7CD91-02EB-45B9-A14A-63B454C4020D}"/>
              </a:ext>
            </a:extLst>
          </p:cNvPr>
          <p:cNvSpPr/>
          <p:nvPr/>
        </p:nvSpPr>
        <p:spPr bwMode="auto">
          <a:xfrm>
            <a:off x="5583394" y="5255331"/>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66" name="Rectangle 165">
            <a:extLst>
              <a:ext uri="{FF2B5EF4-FFF2-40B4-BE49-F238E27FC236}">
                <a16:creationId xmlns:a16="http://schemas.microsoft.com/office/drawing/2014/main" id="{A0B15F03-EBC2-43A2-A2AE-97B8466BEC45}"/>
              </a:ext>
            </a:extLst>
          </p:cNvPr>
          <p:cNvSpPr/>
          <p:nvPr/>
        </p:nvSpPr>
        <p:spPr bwMode="auto">
          <a:xfrm>
            <a:off x="7529781" y="5255331"/>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68" name="Rectangle 167">
            <a:extLst>
              <a:ext uri="{FF2B5EF4-FFF2-40B4-BE49-F238E27FC236}">
                <a16:creationId xmlns:a16="http://schemas.microsoft.com/office/drawing/2014/main" id="{80FB28DB-3DCE-4D11-BEA5-5AA3A1A45EA0}"/>
              </a:ext>
            </a:extLst>
          </p:cNvPr>
          <p:cNvSpPr/>
          <p:nvPr/>
        </p:nvSpPr>
        <p:spPr bwMode="auto">
          <a:xfrm>
            <a:off x="9463482" y="5255331"/>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70" name="Rectangle 169">
            <a:extLst>
              <a:ext uri="{FF2B5EF4-FFF2-40B4-BE49-F238E27FC236}">
                <a16:creationId xmlns:a16="http://schemas.microsoft.com/office/drawing/2014/main" id="{6FDC9BC8-7A49-48C4-A9A5-294B59791449}"/>
              </a:ext>
            </a:extLst>
          </p:cNvPr>
          <p:cNvSpPr/>
          <p:nvPr/>
        </p:nvSpPr>
        <p:spPr bwMode="auto">
          <a:xfrm>
            <a:off x="3629730" y="5255331"/>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72" name="Rectangle 171">
            <a:extLst>
              <a:ext uri="{FF2B5EF4-FFF2-40B4-BE49-F238E27FC236}">
                <a16:creationId xmlns:a16="http://schemas.microsoft.com/office/drawing/2014/main" id="{95694E94-E129-4EB6-86B3-991179B3AD03}"/>
              </a:ext>
            </a:extLst>
          </p:cNvPr>
          <p:cNvSpPr/>
          <p:nvPr/>
        </p:nvSpPr>
        <p:spPr bwMode="auto">
          <a:xfrm>
            <a:off x="1065053" y="5661549"/>
            <a:ext cx="2241062"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73" name="Rectangle 172">
            <a:extLst>
              <a:ext uri="{FF2B5EF4-FFF2-40B4-BE49-F238E27FC236}">
                <a16:creationId xmlns:a16="http://schemas.microsoft.com/office/drawing/2014/main" id="{CFDEDFEC-4514-4514-B4B2-54E57FB77C9B}"/>
              </a:ext>
            </a:extLst>
          </p:cNvPr>
          <p:cNvSpPr/>
          <p:nvPr/>
        </p:nvSpPr>
        <p:spPr>
          <a:xfrm>
            <a:off x="1055125" y="5335564"/>
            <a:ext cx="2905589" cy="217243"/>
          </a:xfrm>
          <a:prstGeom prst="rect">
            <a:avLst/>
          </a:prstGeom>
        </p:spPr>
        <p:txBody>
          <a:bodyPr wrap="square" lIns="89642" tIns="0" bIns="0" anchor="ctr" anchorCtr="0">
            <a:spAutoFit/>
          </a:bodyPr>
          <a:lstStyle/>
          <a:p>
            <a:pPr marL="0" lvl="1" defTabSz="914192">
              <a:lnSpc>
                <a:spcPct val="90000"/>
              </a:lnSpc>
              <a:spcBef>
                <a:spcPts val="588"/>
              </a:spcBef>
              <a:defRPr/>
            </a:pPr>
            <a:r>
              <a:rPr lang="en-US" sz="1568">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Mobile reports</a:t>
            </a:r>
          </a:p>
        </p:txBody>
      </p:sp>
      <p:sp>
        <p:nvSpPr>
          <p:cNvPr id="174" name="Rectangle 173">
            <a:extLst>
              <a:ext uri="{FF2B5EF4-FFF2-40B4-BE49-F238E27FC236}">
                <a16:creationId xmlns:a16="http://schemas.microsoft.com/office/drawing/2014/main" id="{14A161F4-355C-4C57-A7BA-FF01388841D2}"/>
              </a:ext>
            </a:extLst>
          </p:cNvPr>
          <p:cNvSpPr/>
          <p:nvPr/>
        </p:nvSpPr>
        <p:spPr bwMode="auto">
          <a:xfrm>
            <a:off x="5583394" y="5673663"/>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76" name="Rectangle 175">
            <a:extLst>
              <a:ext uri="{FF2B5EF4-FFF2-40B4-BE49-F238E27FC236}">
                <a16:creationId xmlns:a16="http://schemas.microsoft.com/office/drawing/2014/main" id="{A4BC938D-8246-4905-92D5-04C7052F9600}"/>
              </a:ext>
            </a:extLst>
          </p:cNvPr>
          <p:cNvSpPr/>
          <p:nvPr/>
        </p:nvSpPr>
        <p:spPr bwMode="auto">
          <a:xfrm>
            <a:off x="7529781" y="5673663"/>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78" name="Rectangle 177">
            <a:extLst>
              <a:ext uri="{FF2B5EF4-FFF2-40B4-BE49-F238E27FC236}">
                <a16:creationId xmlns:a16="http://schemas.microsoft.com/office/drawing/2014/main" id="{0A275D74-9DAA-400B-9BC9-E073CA131FF5}"/>
              </a:ext>
            </a:extLst>
          </p:cNvPr>
          <p:cNvSpPr/>
          <p:nvPr/>
        </p:nvSpPr>
        <p:spPr bwMode="auto">
          <a:xfrm>
            <a:off x="9463482" y="5673663"/>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80" name="Rectangle 179">
            <a:extLst>
              <a:ext uri="{FF2B5EF4-FFF2-40B4-BE49-F238E27FC236}">
                <a16:creationId xmlns:a16="http://schemas.microsoft.com/office/drawing/2014/main" id="{A38DD94A-72F5-4529-94D1-4ADFFCCABF9D}"/>
              </a:ext>
            </a:extLst>
          </p:cNvPr>
          <p:cNvSpPr/>
          <p:nvPr/>
        </p:nvSpPr>
        <p:spPr bwMode="auto">
          <a:xfrm>
            <a:off x="3629730" y="5673663"/>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82" name="Rectangle 181">
            <a:extLst>
              <a:ext uri="{FF2B5EF4-FFF2-40B4-BE49-F238E27FC236}">
                <a16:creationId xmlns:a16="http://schemas.microsoft.com/office/drawing/2014/main" id="{D2DF15E4-17D7-4FB1-9F89-07B635D45648}"/>
              </a:ext>
            </a:extLst>
          </p:cNvPr>
          <p:cNvSpPr/>
          <p:nvPr/>
        </p:nvSpPr>
        <p:spPr bwMode="auto">
          <a:xfrm>
            <a:off x="1065053" y="6079880"/>
            <a:ext cx="2241062"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83" name="Rectangle 182">
            <a:extLst>
              <a:ext uri="{FF2B5EF4-FFF2-40B4-BE49-F238E27FC236}">
                <a16:creationId xmlns:a16="http://schemas.microsoft.com/office/drawing/2014/main" id="{5F39A843-916A-487D-BF09-8E94FDFCD226}"/>
              </a:ext>
            </a:extLst>
          </p:cNvPr>
          <p:cNvSpPr/>
          <p:nvPr/>
        </p:nvSpPr>
        <p:spPr>
          <a:xfrm>
            <a:off x="1055125" y="5753895"/>
            <a:ext cx="2905589" cy="217243"/>
          </a:xfrm>
          <a:prstGeom prst="rect">
            <a:avLst/>
          </a:prstGeom>
        </p:spPr>
        <p:txBody>
          <a:bodyPr wrap="square" lIns="89642" tIns="0" bIns="0" anchor="ctr" anchorCtr="0">
            <a:spAutoFit/>
          </a:bodyPr>
          <a:lstStyle/>
          <a:p>
            <a:pPr marL="0" lvl="1" defTabSz="914192">
              <a:lnSpc>
                <a:spcPct val="90000"/>
              </a:lnSpc>
              <a:spcBef>
                <a:spcPts val="588"/>
              </a:spcBef>
              <a:defRPr/>
            </a:pPr>
            <a:r>
              <a:rPr lang="en-US" sz="1568">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Lifecycle</a:t>
            </a:r>
          </a:p>
        </p:txBody>
      </p:sp>
      <p:sp>
        <p:nvSpPr>
          <p:cNvPr id="184" name="Rectangle 183">
            <a:extLst>
              <a:ext uri="{FF2B5EF4-FFF2-40B4-BE49-F238E27FC236}">
                <a16:creationId xmlns:a16="http://schemas.microsoft.com/office/drawing/2014/main" id="{0AAE53ED-9492-446D-9B26-CFF875C1735E}"/>
              </a:ext>
            </a:extLst>
          </p:cNvPr>
          <p:cNvSpPr/>
          <p:nvPr/>
        </p:nvSpPr>
        <p:spPr bwMode="auto">
          <a:xfrm>
            <a:off x="5583394" y="609199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85" name="Rectangle 184">
            <a:extLst>
              <a:ext uri="{FF2B5EF4-FFF2-40B4-BE49-F238E27FC236}">
                <a16:creationId xmlns:a16="http://schemas.microsoft.com/office/drawing/2014/main" id="{8EFF5C30-9808-4C0B-BC9C-74CDEAD54E2A}"/>
              </a:ext>
            </a:extLst>
          </p:cNvPr>
          <p:cNvSpPr/>
          <p:nvPr/>
        </p:nvSpPr>
        <p:spPr>
          <a:xfrm>
            <a:off x="5504073" y="5747900"/>
            <a:ext cx="1867735" cy="280605"/>
          </a:xfrm>
          <a:prstGeom prst="rect">
            <a:avLst/>
          </a:prstGeom>
        </p:spPr>
        <p:txBody>
          <a:bodyPr wrap="square" anchor="t">
            <a:spAutoFit/>
          </a:bodyPr>
          <a:lstStyle/>
          <a:p>
            <a:pPr algn="ctr" defTabSz="914367">
              <a:lnSpc>
                <a:spcPct val="90000"/>
              </a:lnSpc>
              <a:spcBef>
                <a:spcPts val="587"/>
              </a:spcBef>
              <a:defRPr/>
            </a:pPr>
            <a:r>
              <a:rPr lang="en-US" sz="1372">
                <a:gradFill>
                  <a:gsLst>
                    <a:gs pos="2917">
                      <a:srgbClr val="353535"/>
                    </a:gs>
                    <a:gs pos="30000">
                      <a:srgbClr val="353535"/>
                    </a:gs>
                  </a:gsLst>
                  <a:lin ang="5400000" scaled="0"/>
                </a:gradFill>
                <a:latin typeface="Segoe UI Semilight" panose="020B0402040204020203" pitchFamily="34" charset="0"/>
                <a:cs typeface="Segoe UI Semilight" panose="020B0402040204020203" pitchFamily="34" charset="0"/>
              </a:rPr>
              <a:t>Modern lifestyle policy</a:t>
            </a:r>
          </a:p>
        </p:txBody>
      </p:sp>
      <p:sp>
        <p:nvSpPr>
          <p:cNvPr id="186" name="Rectangle 185">
            <a:extLst>
              <a:ext uri="{FF2B5EF4-FFF2-40B4-BE49-F238E27FC236}">
                <a16:creationId xmlns:a16="http://schemas.microsoft.com/office/drawing/2014/main" id="{6FB72659-3883-4EB3-871E-A29FEADD13E5}"/>
              </a:ext>
            </a:extLst>
          </p:cNvPr>
          <p:cNvSpPr/>
          <p:nvPr/>
        </p:nvSpPr>
        <p:spPr bwMode="auto">
          <a:xfrm>
            <a:off x="7529781" y="609199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87" name="Rectangle 186">
            <a:extLst>
              <a:ext uri="{FF2B5EF4-FFF2-40B4-BE49-F238E27FC236}">
                <a16:creationId xmlns:a16="http://schemas.microsoft.com/office/drawing/2014/main" id="{05460B55-0DDB-4F75-874B-704F61F3B858}"/>
              </a:ext>
            </a:extLst>
          </p:cNvPr>
          <p:cNvSpPr/>
          <p:nvPr/>
        </p:nvSpPr>
        <p:spPr>
          <a:xfrm>
            <a:off x="7435668" y="5747900"/>
            <a:ext cx="1897318" cy="280605"/>
          </a:xfrm>
          <a:prstGeom prst="rect">
            <a:avLst/>
          </a:prstGeom>
        </p:spPr>
        <p:txBody>
          <a:bodyPr wrap="square" anchor="t">
            <a:spAutoFit/>
          </a:bodyPr>
          <a:lstStyle/>
          <a:p>
            <a:pPr marL="0" lvl="1" algn="ctr" defTabSz="914367">
              <a:lnSpc>
                <a:spcPct val="90000"/>
              </a:lnSpc>
              <a:spcBef>
                <a:spcPts val="587"/>
              </a:spcBef>
              <a:defRPr/>
            </a:pPr>
            <a:r>
              <a:rPr lang="en-US" sz="1372" dirty="0">
                <a:gradFill>
                  <a:gsLst>
                    <a:gs pos="2917">
                      <a:srgbClr val="353535"/>
                    </a:gs>
                    <a:gs pos="30000">
                      <a:srgbClr val="353535"/>
                    </a:gs>
                  </a:gsLst>
                  <a:lin ang="5400000" scaled="0"/>
                </a:gradFill>
                <a:latin typeface="Segoe UI Semilight" panose="020B0402040204020203" pitchFamily="34" charset="0"/>
                <a:cs typeface="Segoe UI Semilight" panose="020B0402040204020203" pitchFamily="34" charset="0"/>
              </a:rPr>
              <a:t>Fully managed service</a:t>
            </a:r>
          </a:p>
        </p:txBody>
      </p:sp>
      <p:sp>
        <p:nvSpPr>
          <p:cNvPr id="188" name="Rectangle 187">
            <a:extLst>
              <a:ext uri="{FF2B5EF4-FFF2-40B4-BE49-F238E27FC236}">
                <a16:creationId xmlns:a16="http://schemas.microsoft.com/office/drawing/2014/main" id="{7705B968-6324-4774-A17C-6B0F8E72B56C}"/>
              </a:ext>
            </a:extLst>
          </p:cNvPr>
          <p:cNvSpPr/>
          <p:nvPr/>
        </p:nvSpPr>
        <p:spPr bwMode="auto">
          <a:xfrm>
            <a:off x="9463482" y="609199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89" name="Rectangle 188">
            <a:extLst>
              <a:ext uri="{FF2B5EF4-FFF2-40B4-BE49-F238E27FC236}">
                <a16:creationId xmlns:a16="http://schemas.microsoft.com/office/drawing/2014/main" id="{0F452ACD-CBCD-4BA3-B13B-13AAB970BF3F}"/>
              </a:ext>
            </a:extLst>
          </p:cNvPr>
          <p:cNvSpPr/>
          <p:nvPr/>
        </p:nvSpPr>
        <p:spPr>
          <a:xfrm>
            <a:off x="9465328" y="5747900"/>
            <a:ext cx="1705402" cy="280605"/>
          </a:xfrm>
          <a:prstGeom prst="rect">
            <a:avLst/>
          </a:prstGeom>
        </p:spPr>
        <p:txBody>
          <a:bodyPr wrap="square" anchor="t">
            <a:spAutoFit/>
          </a:bodyPr>
          <a:lstStyle/>
          <a:p>
            <a:pPr algn="ctr" defTabSz="914367">
              <a:lnSpc>
                <a:spcPct val="90000"/>
              </a:lnSpc>
              <a:spcBef>
                <a:spcPts val="587"/>
              </a:spcBef>
              <a:defRPr/>
            </a:pPr>
            <a:r>
              <a:rPr lang="en-US" sz="1372">
                <a:gradFill>
                  <a:gsLst>
                    <a:gs pos="2917">
                      <a:srgbClr val="353535"/>
                    </a:gs>
                    <a:gs pos="30000">
                      <a:srgbClr val="353535"/>
                    </a:gs>
                  </a:gsLst>
                  <a:lin ang="5400000" scaled="0"/>
                </a:gradFill>
                <a:latin typeface="Segoe UI Semilight" panose="020B0402040204020203" pitchFamily="34" charset="0"/>
                <a:cs typeface="Segoe UI Semilight" panose="020B0402040204020203" pitchFamily="34" charset="0"/>
              </a:rPr>
              <a:t>APIs</a:t>
            </a:r>
          </a:p>
        </p:txBody>
      </p:sp>
      <p:sp>
        <p:nvSpPr>
          <p:cNvPr id="190" name="Rectangle 189">
            <a:extLst>
              <a:ext uri="{FF2B5EF4-FFF2-40B4-BE49-F238E27FC236}">
                <a16:creationId xmlns:a16="http://schemas.microsoft.com/office/drawing/2014/main" id="{7F688426-EECB-4FBB-83B7-85C67E0EA8D8}"/>
              </a:ext>
            </a:extLst>
          </p:cNvPr>
          <p:cNvSpPr/>
          <p:nvPr/>
        </p:nvSpPr>
        <p:spPr bwMode="auto">
          <a:xfrm>
            <a:off x="3629730" y="6091994"/>
            <a:ext cx="1709091"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latin typeface="Segoe UI"/>
            </a:endParaRPr>
          </a:p>
        </p:txBody>
      </p:sp>
      <p:sp>
        <p:nvSpPr>
          <p:cNvPr id="191" name="Rectangle 190">
            <a:extLst>
              <a:ext uri="{FF2B5EF4-FFF2-40B4-BE49-F238E27FC236}">
                <a16:creationId xmlns:a16="http://schemas.microsoft.com/office/drawing/2014/main" id="{65BF931F-7528-4C8C-B983-1AFDA625550D}"/>
              </a:ext>
            </a:extLst>
          </p:cNvPr>
          <p:cNvSpPr/>
          <p:nvPr/>
        </p:nvSpPr>
        <p:spPr>
          <a:xfrm>
            <a:off x="3631575" y="5747900"/>
            <a:ext cx="1705402" cy="280605"/>
          </a:xfrm>
          <a:prstGeom prst="rect">
            <a:avLst/>
          </a:prstGeom>
        </p:spPr>
        <p:txBody>
          <a:bodyPr wrap="square" anchor="t">
            <a:spAutoFit/>
          </a:bodyPr>
          <a:lstStyle/>
          <a:p>
            <a:pPr algn="ctr" defTabSz="914367">
              <a:lnSpc>
                <a:spcPct val="90000"/>
              </a:lnSpc>
              <a:spcBef>
                <a:spcPts val="587"/>
              </a:spcBef>
              <a:defRPr/>
            </a:pPr>
            <a:r>
              <a:rPr lang="en-US" sz="1372">
                <a:gradFill>
                  <a:gsLst>
                    <a:gs pos="2917">
                      <a:srgbClr val="353535"/>
                    </a:gs>
                    <a:gs pos="30000">
                      <a:srgbClr val="353535"/>
                    </a:gs>
                  </a:gsLst>
                  <a:lin ang="5400000" scaled="0"/>
                </a:gradFill>
                <a:latin typeface="Segoe UI Semilight" panose="020B0402040204020203" pitchFamily="34" charset="0"/>
                <a:cs typeface="Segoe UI Semilight" panose="020B0402040204020203" pitchFamily="34" charset="0"/>
              </a:rPr>
              <a:t>Fixed lifestyle policy</a:t>
            </a:r>
          </a:p>
        </p:txBody>
      </p:sp>
      <p:sp>
        <p:nvSpPr>
          <p:cNvPr id="192" name="Freeform: Shape 191">
            <a:extLst>
              <a:ext uri="{FF2B5EF4-FFF2-40B4-BE49-F238E27FC236}">
                <a16:creationId xmlns:a16="http://schemas.microsoft.com/office/drawing/2014/main" id="{FC2E201D-70CD-4082-ADCB-F863C194584D}"/>
              </a:ext>
            </a:extLst>
          </p:cNvPr>
          <p:cNvSpPr>
            <a:spLocks noChangeAspect="1"/>
          </p:cNvSpPr>
          <p:nvPr/>
        </p:nvSpPr>
        <p:spPr bwMode="auto">
          <a:xfrm>
            <a:off x="6348369" y="2813469"/>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2917">
                    <a:srgbClr val="353535"/>
                  </a:gs>
                  <a:gs pos="30000">
                    <a:srgbClr val="353535"/>
                  </a:gs>
                </a:gsLst>
                <a:lin ang="5400000" scaled="0"/>
              </a:gradFill>
              <a:latin typeface="Segoe UI Semilight"/>
              <a:ea typeface="Segoe UI" pitchFamily="34" charset="0"/>
              <a:cs typeface="Segoe UI" pitchFamily="34" charset="0"/>
            </a:endParaRPr>
          </a:p>
        </p:txBody>
      </p:sp>
      <p:sp>
        <p:nvSpPr>
          <p:cNvPr id="193" name="Freeform: Shape 192">
            <a:extLst>
              <a:ext uri="{FF2B5EF4-FFF2-40B4-BE49-F238E27FC236}">
                <a16:creationId xmlns:a16="http://schemas.microsoft.com/office/drawing/2014/main" id="{766702B2-662A-41BC-8FBC-00096E38C77B}"/>
              </a:ext>
            </a:extLst>
          </p:cNvPr>
          <p:cNvSpPr>
            <a:spLocks noChangeAspect="1"/>
          </p:cNvSpPr>
          <p:nvPr/>
        </p:nvSpPr>
        <p:spPr bwMode="auto">
          <a:xfrm>
            <a:off x="8294756" y="2813469"/>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2917">
                    <a:srgbClr val="353535"/>
                  </a:gs>
                  <a:gs pos="30000">
                    <a:srgbClr val="353535"/>
                  </a:gs>
                </a:gsLst>
                <a:lin ang="5400000" scaled="0"/>
              </a:gradFill>
              <a:latin typeface="Segoe UI Semilight"/>
              <a:ea typeface="Segoe UI" pitchFamily="34" charset="0"/>
              <a:cs typeface="Segoe UI" pitchFamily="34" charset="0"/>
            </a:endParaRPr>
          </a:p>
        </p:txBody>
      </p:sp>
      <p:sp>
        <p:nvSpPr>
          <p:cNvPr id="194" name="Freeform: Shape 193">
            <a:extLst>
              <a:ext uri="{FF2B5EF4-FFF2-40B4-BE49-F238E27FC236}">
                <a16:creationId xmlns:a16="http://schemas.microsoft.com/office/drawing/2014/main" id="{F8A10F11-5A37-4C2A-9F89-EF89E9630604}"/>
              </a:ext>
            </a:extLst>
          </p:cNvPr>
          <p:cNvSpPr>
            <a:spLocks noChangeAspect="1"/>
          </p:cNvSpPr>
          <p:nvPr/>
        </p:nvSpPr>
        <p:spPr bwMode="auto">
          <a:xfrm>
            <a:off x="10228457" y="2813469"/>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2917">
                    <a:srgbClr val="353535"/>
                  </a:gs>
                  <a:gs pos="30000">
                    <a:srgbClr val="353535"/>
                  </a:gs>
                </a:gsLst>
                <a:lin ang="5400000" scaled="0"/>
              </a:gradFill>
              <a:latin typeface="Segoe UI Semilight"/>
              <a:ea typeface="Segoe UI" pitchFamily="34" charset="0"/>
              <a:cs typeface="Segoe UI" pitchFamily="34" charset="0"/>
            </a:endParaRPr>
          </a:p>
        </p:txBody>
      </p:sp>
      <p:sp>
        <p:nvSpPr>
          <p:cNvPr id="196" name="Freeform: Shape 195">
            <a:extLst>
              <a:ext uri="{FF2B5EF4-FFF2-40B4-BE49-F238E27FC236}">
                <a16:creationId xmlns:a16="http://schemas.microsoft.com/office/drawing/2014/main" id="{EF817D3F-9768-4E8D-AA59-7CC2390C5C13}"/>
              </a:ext>
            </a:extLst>
          </p:cNvPr>
          <p:cNvSpPr>
            <a:spLocks noChangeAspect="1"/>
          </p:cNvSpPr>
          <p:nvPr/>
        </p:nvSpPr>
        <p:spPr bwMode="auto">
          <a:xfrm>
            <a:off x="8294756" y="3251721"/>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2917">
                    <a:srgbClr val="353535"/>
                  </a:gs>
                  <a:gs pos="30000">
                    <a:srgbClr val="353535"/>
                  </a:gs>
                </a:gsLst>
                <a:lin ang="5400000" scaled="0"/>
              </a:gradFill>
              <a:latin typeface="Segoe UI Semilight"/>
              <a:ea typeface="Segoe UI" pitchFamily="34" charset="0"/>
              <a:cs typeface="Segoe UI" pitchFamily="34" charset="0"/>
            </a:endParaRPr>
          </a:p>
        </p:txBody>
      </p:sp>
      <p:sp>
        <p:nvSpPr>
          <p:cNvPr id="197" name="Freeform: Shape 196">
            <a:extLst>
              <a:ext uri="{FF2B5EF4-FFF2-40B4-BE49-F238E27FC236}">
                <a16:creationId xmlns:a16="http://schemas.microsoft.com/office/drawing/2014/main" id="{E92AEB1D-1E0C-418D-9C0B-8824B08A10F3}"/>
              </a:ext>
            </a:extLst>
          </p:cNvPr>
          <p:cNvSpPr>
            <a:spLocks noChangeAspect="1"/>
          </p:cNvSpPr>
          <p:nvPr/>
        </p:nvSpPr>
        <p:spPr bwMode="auto">
          <a:xfrm>
            <a:off x="10228457" y="3251721"/>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2917">
                    <a:srgbClr val="353535"/>
                  </a:gs>
                  <a:gs pos="30000">
                    <a:srgbClr val="353535"/>
                  </a:gs>
                </a:gsLst>
                <a:lin ang="5400000" scaled="0"/>
              </a:gradFill>
              <a:latin typeface="Segoe UI Semilight"/>
              <a:ea typeface="Segoe UI" pitchFamily="34" charset="0"/>
              <a:cs typeface="Segoe UI" pitchFamily="34" charset="0"/>
            </a:endParaRPr>
          </a:p>
        </p:txBody>
      </p:sp>
      <p:sp>
        <p:nvSpPr>
          <p:cNvPr id="198" name="Freeform: Shape 197">
            <a:extLst>
              <a:ext uri="{FF2B5EF4-FFF2-40B4-BE49-F238E27FC236}">
                <a16:creationId xmlns:a16="http://schemas.microsoft.com/office/drawing/2014/main" id="{0213C478-960B-4FD4-B90A-197861B6CAE9}"/>
              </a:ext>
            </a:extLst>
          </p:cNvPr>
          <p:cNvSpPr>
            <a:spLocks noChangeAspect="1"/>
          </p:cNvSpPr>
          <p:nvPr/>
        </p:nvSpPr>
        <p:spPr bwMode="auto">
          <a:xfrm>
            <a:off x="4394705" y="4979829"/>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2917">
                    <a:srgbClr val="353535"/>
                  </a:gs>
                  <a:gs pos="30000">
                    <a:srgbClr val="353535"/>
                  </a:gs>
                </a:gsLst>
                <a:lin ang="5400000" scaled="0"/>
              </a:gradFill>
              <a:latin typeface="Segoe UI Semilight"/>
              <a:ea typeface="Segoe UI" pitchFamily="34" charset="0"/>
              <a:cs typeface="Segoe UI" pitchFamily="34" charset="0"/>
            </a:endParaRPr>
          </a:p>
        </p:txBody>
      </p:sp>
      <p:sp>
        <p:nvSpPr>
          <p:cNvPr id="199" name="Freeform: Shape 198">
            <a:extLst>
              <a:ext uri="{FF2B5EF4-FFF2-40B4-BE49-F238E27FC236}">
                <a16:creationId xmlns:a16="http://schemas.microsoft.com/office/drawing/2014/main" id="{B654F03C-5682-4B23-8879-B2DBAB2E357C}"/>
              </a:ext>
            </a:extLst>
          </p:cNvPr>
          <p:cNvSpPr>
            <a:spLocks noChangeAspect="1"/>
          </p:cNvSpPr>
          <p:nvPr/>
        </p:nvSpPr>
        <p:spPr bwMode="auto">
          <a:xfrm>
            <a:off x="4394705" y="5398160"/>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2917">
                    <a:srgbClr val="353535"/>
                  </a:gs>
                  <a:gs pos="30000">
                    <a:srgbClr val="353535"/>
                  </a:gs>
                </a:gsLst>
                <a:lin ang="5400000" scaled="0"/>
              </a:gradFill>
              <a:latin typeface="Segoe UI Semilight"/>
              <a:ea typeface="Segoe UI" pitchFamily="34" charset="0"/>
              <a:cs typeface="Segoe UI" pitchFamily="34" charset="0"/>
            </a:endParaRPr>
          </a:p>
        </p:txBody>
      </p:sp>
      <p:sp>
        <p:nvSpPr>
          <p:cNvPr id="200" name="Freeform: Shape 199">
            <a:extLst>
              <a:ext uri="{FF2B5EF4-FFF2-40B4-BE49-F238E27FC236}">
                <a16:creationId xmlns:a16="http://schemas.microsoft.com/office/drawing/2014/main" id="{66614E27-7CA8-433C-9F06-6C879F38B6BC}"/>
              </a:ext>
            </a:extLst>
          </p:cNvPr>
          <p:cNvSpPr>
            <a:spLocks noChangeAspect="1"/>
          </p:cNvSpPr>
          <p:nvPr/>
        </p:nvSpPr>
        <p:spPr bwMode="auto">
          <a:xfrm>
            <a:off x="6348369" y="4979829"/>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2917">
                    <a:srgbClr val="353535"/>
                  </a:gs>
                  <a:gs pos="30000">
                    <a:srgbClr val="353535"/>
                  </a:gs>
                </a:gsLst>
                <a:lin ang="5400000" scaled="0"/>
              </a:gradFill>
              <a:latin typeface="Segoe UI Semilight"/>
              <a:ea typeface="Segoe UI" pitchFamily="34" charset="0"/>
              <a:cs typeface="Segoe UI" pitchFamily="34" charset="0"/>
            </a:endParaRPr>
          </a:p>
        </p:txBody>
      </p:sp>
      <p:sp>
        <p:nvSpPr>
          <p:cNvPr id="201" name="Freeform: Shape 200">
            <a:extLst>
              <a:ext uri="{FF2B5EF4-FFF2-40B4-BE49-F238E27FC236}">
                <a16:creationId xmlns:a16="http://schemas.microsoft.com/office/drawing/2014/main" id="{D94372BB-490B-405F-A3DD-C740E3713D0E}"/>
              </a:ext>
            </a:extLst>
          </p:cNvPr>
          <p:cNvSpPr>
            <a:spLocks noChangeAspect="1"/>
          </p:cNvSpPr>
          <p:nvPr/>
        </p:nvSpPr>
        <p:spPr bwMode="auto">
          <a:xfrm>
            <a:off x="6348369" y="5398160"/>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2917">
                    <a:srgbClr val="353535"/>
                  </a:gs>
                  <a:gs pos="30000">
                    <a:srgbClr val="353535"/>
                  </a:gs>
                </a:gsLst>
                <a:lin ang="5400000" scaled="0"/>
              </a:gradFill>
              <a:latin typeface="Segoe UI Semilight"/>
              <a:ea typeface="Segoe UI" pitchFamily="34" charset="0"/>
              <a:cs typeface="Segoe UI" pitchFamily="34" charset="0"/>
            </a:endParaRPr>
          </a:p>
        </p:txBody>
      </p:sp>
      <p:sp>
        <p:nvSpPr>
          <p:cNvPr id="203" name="Freeform: Shape 202">
            <a:extLst>
              <a:ext uri="{FF2B5EF4-FFF2-40B4-BE49-F238E27FC236}">
                <a16:creationId xmlns:a16="http://schemas.microsoft.com/office/drawing/2014/main" id="{73726B0D-523B-445E-A058-45B9DC8B8E23}"/>
              </a:ext>
            </a:extLst>
          </p:cNvPr>
          <p:cNvSpPr>
            <a:spLocks noChangeAspect="1"/>
          </p:cNvSpPr>
          <p:nvPr/>
        </p:nvSpPr>
        <p:spPr bwMode="auto">
          <a:xfrm>
            <a:off x="8294756" y="3682912"/>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2917">
                    <a:srgbClr val="353535"/>
                  </a:gs>
                  <a:gs pos="30000">
                    <a:srgbClr val="353535"/>
                  </a:gs>
                </a:gsLst>
                <a:lin ang="5400000" scaled="0"/>
              </a:gradFill>
              <a:latin typeface="Segoe UI Semilight"/>
              <a:ea typeface="Segoe UI" pitchFamily="34" charset="0"/>
              <a:cs typeface="Segoe UI" pitchFamily="34" charset="0"/>
            </a:endParaRPr>
          </a:p>
        </p:txBody>
      </p:sp>
      <p:sp>
        <p:nvSpPr>
          <p:cNvPr id="204" name="Freeform: Shape 203">
            <a:extLst>
              <a:ext uri="{FF2B5EF4-FFF2-40B4-BE49-F238E27FC236}">
                <a16:creationId xmlns:a16="http://schemas.microsoft.com/office/drawing/2014/main" id="{F772AE12-57FD-45CB-A8E2-87223945A9B4}"/>
              </a:ext>
            </a:extLst>
          </p:cNvPr>
          <p:cNvSpPr>
            <a:spLocks noChangeAspect="1"/>
          </p:cNvSpPr>
          <p:nvPr/>
        </p:nvSpPr>
        <p:spPr bwMode="auto">
          <a:xfrm>
            <a:off x="8294756" y="4131125"/>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2917">
                    <a:srgbClr val="353535"/>
                  </a:gs>
                  <a:gs pos="30000">
                    <a:srgbClr val="353535"/>
                  </a:gs>
                </a:gsLst>
                <a:lin ang="5400000" scaled="0"/>
              </a:gradFill>
              <a:latin typeface="Segoe UI Semilight"/>
              <a:ea typeface="Segoe UI" pitchFamily="34" charset="0"/>
              <a:cs typeface="Segoe UI" pitchFamily="34" charset="0"/>
            </a:endParaRPr>
          </a:p>
        </p:txBody>
      </p:sp>
      <p:sp>
        <p:nvSpPr>
          <p:cNvPr id="205" name="Freeform: Shape 204">
            <a:extLst>
              <a:ext uri="{FF2B5EF4-FFF2-40B4-BE49-F238E27FC236}">
                <a16:creationId xmlns:a16="http://schemas.microsoft.com/office/drawing/2014/main" id="{50105BCA-CCF1-4172-AAFA-340440FCB7C5}"/>
              </a:ext>
            </a:extLst>
          </p:cNvPr>
          <p:cNvSpPr>
            <a:spLocks noChangeAspect="1"/>
          </p:cNvSpPr>
          <p:nvPr/>
        </p:nvSpPr>
        <p:spPr bwMode="auto">
          <a:xfrm>
            <a:off x="10228457" y="4103324"/>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2917">
                    <a:srgbClr val="353535"/>
                  </a:gs>
                  <a:gs pos="30000">
                    <a:srgbClr val="353535"/>
                  </a:gs>
                </a:gsLst>
                <a:lin ang="5400000" scaled="0"/>
              </a:gradFill>
              <a:latin typeface="Segoe UI Semilight"/>
              <a:ea typeface="Segoe UI" pitchFamily="34" charset="0"/>
              <a:cs typeface="Segoe UI" pitchFamily="34" charset="0"/>
            </a:endParaRPr>
          </a:p>
        </p:txBody>
      </p:sp>
      <p:sp>
        <p:nvSpPr>
          <p:cNvPr id="206" name="Freeform: Shape 205">
            <a:extLst>
              <a:ext uri="{FF2B5EF4-FFF2-40B4-BE49-F238E27FC236}">
                <a16:creationId xmlns:a16="http://schemas.microsoft.com/office/drawing/2014/main" id="{ADCE468E-5BDD-46B1-A2BF-07A25C8E5318}"/>
              </a:ext>
            </a:extLst>
          </p:cNvPr>
          <p:cNvSpPr>
            <a:spLocks noChangeAspect="1"/>
          </p:cNvSpPr>
          <p:nvPr/>
        </p:nvSpPr>
        <p:spPr bwMode="auto">
          <a:xfrm>
            <a:off x="8294756" y="4528275"/>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2917">
                    <a:srgbClr val="353535"/>
                  </a:gs>
                  <a:gs pos="30000">
                    <a:srgbClr val="353535"/>
                  </a:gs>
                </a:gsLst>
                <a:lin ang="5400000" scaled="0"/>
              </a:gradFill>
              <a:latin typeface="Segoe UI Semilight"/>
              <a:ea typeface="Segoe UI" pitchFamily="34" charset="0"/>
              <a:cs typeface="Segoe UI" pitchFamily="34" charset="0"/>
            </a:endParaRPr>
          </a:p>
        </p:txBody>
      </p:sp>
      <p:sp>
        <p:nvSpPr>
          <p:cNvPr id="207" name="Freeform: Shape 206">
            <a:extLst>
              <a:ext uri="{FF2B5EF4-FFF2-40B4-BE49-F238E27FC236}">
                <a16:creationId xmlns:a16="http://schemas.microsoft.com/office/drawing/2014/main" id="{C5ACD5F7-9427-4DD9-A1AB-F4C3E4DFCD65}"/>
              </a:ext>
            </a:extLst>
          </p:cNvPr>
          <p:cNvSpPr>
            <a:spLocks noChangeAspect="1"/>
          </p:cNvSpPr>
          <p:nvPr/>
        </p:nvSpPr>
        <p:spPr bwMode="auto">
          <a:xfrm>
            <a:off x="8294756" y="5413353"/>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2917">
                    <a:srgbClr val="353535"/>
                  </a:gs>
                  <a:gs pos="30000">
                    <a:srgbClr val="353535"/>
                  </a:gs>
                </a:gsLst>
                <a:lin ang="5400000" scaled="0"/>
              </a:gradFill>
              <a:latin typeface="Segoe UI Semilight"/>
              <a:ea typeface="Segoe UI" pitchFamily="34" charset="0"/>
              <a:cs typeface="Segoe UI" pitchFamily="34" charset="0"/>
            </a:endParaRPr>
          </a:p>
        </p:txBody>
      </p:sp>
      <p:sp>
        <p:nvSpPr>
          <p:cNvPr id="5" name="Freeform: Shape 4">
            <a:extLst>
              <a:ext uri="{FF2B5EF4-FFF2-40B4-BE49-F238E27FC236}">
                <a16:creationId xmlns:a16="http://schemas.microsoft.com/office/drawing/2014/main" id="{25662084-DFF7-4BDC-B28D-5FE6BD385C2C}"/>
              </a:ext>
            </a:extLst>
          </p:cNvPr>
          <p:cNvSpPr>
            <a:spLocks noChangeAspect="1"/>
          </p:cNvSpPr>
          <p:nvPr/>
        </p:nvSpPr>
        <p:spPr bwMode="auto">
          <a:xfrm>
            <a:off x="8294754" y="4968803"/>
            <a:ext cx="179143" cy="1344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2917">
                    <a:srgbClr val="353535"/>
                  </a:gs>
                  <a:gs pos="30000">
                    <a:srgbClr val="353535"/>
                  </a:gs>
                </a:gsLst>
                <a:lin ang="5400000" scaled="0"/>
              </a:gradFill>
              <a:latin typeface="Segoe UI Semilight"/>
              <a:ea typeface="Segoe UI" pitchFamily="34" charset="0"/>
              <a:cs typeface="Segoe UI" pitchFamily="34" charset="0"/>
            </a:endParaRPr>
          </a:p>
        </p:txBody>
      </p:sp>
      <p:sp>
        <p:nvSpPr>
          <p:cNvPr id="6" name="Text Placeholder 2">
            <a:extLst>
              <a:ext uri="{FF2B5EF4-FFF2-40B4-BE49-F238E27FC236}">
                <a16:creationId xmlns:a16="http://schemas.microsoft.com/office/drawing/2014/main" id="{07FE7C72-E9DF-45F9-97A4-A8A97DA0C516}"/>
              </a:ext>
            </a:extLst>
          </p:cNvPr>
          <p:cNvSpPr txBox="1">
            <a:spLocks/>
          </p:cNvSpPr>
          <p:nvPr/>
        </p:nvSpPr>
        <p:spPr>
          <a:xfrm>
            <a:off x="493209" y="6427694"/>
            <a:ext cx="3618381" cy="205056"/>
          </a:xfrm>
          <a:prstGeom prst="rect">
            <a:avLst/>
          </a:prstGeom>
        </p:spPr>
        <p:txBody>
          <a:bodyPr vert="horz" wrap="square" lIns="0" tIns="0" rIns="0" bIns="0" rtlCol="0" anchor="t">
            <a:spAutoFit/>
          </a:bodyPr>
          <a:lstStyle>
            <a:lvl1pPr marL="0" marR="0" indent="0" algn="l" defTabSz="914367"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050" dirty="0">
                <a:solidFill>
                  <a:schemeClr val="bg1">
                    <a:lumMod val="65000"/>
                  </a:schemeClr>
                </a:solidFill>
                <a:latin typeface="+mn-lt"/>
              </a:rPr>
              <a:t>Remark: the content is last updated as of Dec 2020 </a:t>
            </a:r>
            <a:endParaRPr lang="en-US" sz="1000" dirty="0">
              <a:solidFill>
                <a:schemeClr val="bg1">
                  <a:lumMod val="65000"/>
                </a:schemeClr>
              </a:solidFill>
              <a:latin typeface="+mn-lt"/>
            </a:endParaRPr>
          </a:p>
        </p:txBody>
      </p:sp>
    </p:spTree>
    <p:extLst>
      <p:ext uri="{BB962C8B-B14F-4D97-AF65-F5344CB8AC3E}">
        <p14:creationId xmlns:p14="http://schemas.microsoft.com/office/powerpoint/2010/main" val="126803724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C8828-4B2A-495C-8C59-FE12AD9B0593}"/>
              </a:ext>
            </a:extLst>
          </p:cNvPr>
          <p:cNvSpPr>
            <a:spLocks noGrp="1"/>
          </p:cNvSpPr>
          <p:nvPr>
            <p:ph type="title"/>
          </p:nvPr>
        </p:nvSpPr>
        <p:spPr>
          <a:xfrm>
            <a:off x="584200" y="3145978"/>
            <a:ext cx="9144000" cy="387798"/>
          </a:xfrm>
        </p:spPr>
        <p:txBody>
          <a:bodyPr/>
          <a:lstStyle/>
          <a:p>
            <a:r>
              <a:rPr lang="en-US" sz="2800" b="0" dirty="0">
                <a:solidFill>
                  <a:schemeClr val="tx1"/>
                </a:solidFill>
                <a:latin typeface="HelvNeue Light for IBM"/>
              </a:rPr>
              <a:t>Example of Power BI </a:t>
            </a:r>
            <a:r>
              <a:rPr lang="en-US" sz="2800" dirty="0">
                <a:solidFill>
                  <a:schemeClr val="tx1"/>
                </a:solidFill>
                <a:latin typeface="HelvNeue Light for IBM"/>
              </a:rPr>
              <a:t>Licensing Scenario (TBA)</a:t>
            </a:r>
            <a:endParaRPr lang="en-US" sz="2800" b="0" dirty="0">
              <a:solidFill>
                <a:schemeClr val="tx1"/>
              </a:solidFill>
              <a:latin typeface="HelvNeue Light for IBM"/>
            </a:endParaRPr>
          </a:p>
        </p:txBody>
      </p:sp>
    </p:spTree>
    <p:extLst>
      <p:ext uri="{BB962C8B-B14F-4D97-AF65-F5344CB8AC3E}">
        <p14:creationId xmlns:p14="http://schemas.microsoft.com/office/powerpoint/2010/main" val="38378736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C8828-4B2A-495C-8C59-FE12AD9B0593}"/>
              </a:ext>
            </a:extLst>
          </p:cNvPr>
          <p:cNvSpPr>
            <a:spLocks noGrp="1"/>
          </p:cNvSpPr>
          <p:nvPr>
            <p:ph type="title"/>
          </p:nvPr>
        </p:nvSpPr>
        <p:spPr>
          <a:xfrm>
            <a:off x="584200" y="3102889"/>
            <a:ext cx="9144000" cy="430887"/>
          </a:xfrm>
        </p:spPr>
        <p:txBody>
          <a:bodyPr/>
          <a:lstStyle/>
          <a:p>
            <a:r>
              <a:rPr lang="en-US" sz="2800" b="0" dirty="0">
                <a:solidFill>
                  <a:schemeClr val="tx1"/>
                </a:solidFill>
                <a:latin typeface="HelvNeue Light for IBM"/>
              </a:rPr>
              <a:t>Why Power BI?</a:t>
            </a:r>
          </a:p>
        </p:txBody>
      </p:sp>
    </p:spTree>
    <p:extLst>
      <p:ext uri="{BB962C8B-B14F-4D97-AF65-F5344CB8AC3E}">
        <p14:creationId xmlns:p14="http://schemas.microsoft.com/office/powerpoint/2010/main" val="22596598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chemeClr val="tx1"/>
                </a:solidFill>
              </a:rPr>
              <a:t>Faster time to solution and ease of management</a:t>
            </a:r>
            <a:endParaRPr lang="en-US" sz="3600" b="1">
              <a:solidFill>
                <a:schemeClr val="tx1"/>
              </a:solidFill>
            </a:endParaRPr>
          </a:p>
          <a:p>
            <a:pPr marL="168275"/>
            <a:endParaRPr lang="en-IN" sz="3600">
              <a:solidFill>
                <a:schemeClr val="tx1"/>
              </a:solidFill>
            </a:endParaRPr>
          </a:p>
        </p:txBody>
      </p:sp>
      <p:sp>
        <p:nvSpPr>
          <p:cNvPr id="49" name="Rectangle 48"/>
          <p:cNvSpPr/>
          <p:nvPr/>
        </p:nvSpPr>
        <p:spPr>
          <a:xfrm>
            <a:off x="2861163" y="1160367"/>
            <a:ext cx="9092764" cy="5339923"/>
          </a:xfrm>
          <a:prstGeom prst="rect">
            <a:avLst/>
          </a:prstGeom>
        </p:spPr>
        <p:txBody>
          <a:bodyPr wrap="square">
            <a:spAutoFit/>
          </a:bodyPr>
          <a:lstStyle/>
          <a:p>
            <a:pPr marL="342900" marR="0" lvl="0" indent="-342900">
              <a:spcBef>
                <a:spcPts val="600"/>
              </a:spcBef>
              <a:spcAft>
                <a:spcPts val="600"/>
              </a:spcAft>
              <a:buFont typeface="Symbol" panose="05050102010706020507" pitchFamily="18" charset="2"/>
              <a:buChar char=""/>
            </a:pPr>
            <a:r>
              <a:rPr lang="en-US" sz="2400" dirty="0">
                <a:latin typeface="+mj-lt"/>
                <a:ea typeface="Calibri" panose="020F0502020204030204" pitchFamily="34" charset="0"/>
                <a:cs typeface="Times New Roman" panose="02020603050405020304" pitchFamily="18" charset="0"/>
              </a:rPr>
              <a:t>Power BI is a Software as a Service (SaaS) BI solution</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No need to setup your own hardware</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99.9% uptime SLA</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Grows with your needs for number of users and data volumes</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Ease of maintenance with automatic updates</a:t>
            </a:r>
          </a:p>
          <a:p>
            <a:pPr marL="342900" marR="0" lvl="0" indent="-342900">
              <a:spcBef>
                <a:spcPts val="600"/>
              </a:spcBef>
              <a:spcAft>
                <a:spcPts val="600"/>
              </a:spcAft>
              <a:buFont typeface="Symbol" panose="05050102010706020507" pitchFamily="18" charset="2"/>
              <a:buChar char=""/>
            </a:pPr>
            <a:r>
              <a:rPr lang="en-US" sz="2400" dirty="0">
                <a:latin typeface="+mj-lt"/>
                <a:ea typeface="Calibri" panose="020F0502020204030204" pitchFamily="34" charset="0"/>
                <a:cs typeface="Times New Roman" panose="02020603050405020304" pitchFamily="18" charset="0"/>
              </a:rPr>
              <a:t>Realize the benefits of a SaaS-based BI solution without moving your data to the cloud</a:t>
            </a:r>
          </a:p>
          <a:p>
            <a:pPr marL="342900" marR="0" lvl="0" indent="-342900">
              <a:spcBef>
                <a:spcPts val="600"/>
              </a:spcBef>
              <a:spcAft>
                <a:spcPts val="600"/>
              </a:spcAft>
              <a:buFont typeface="Symbol" panose="05050102010706020507" pitchFamily="18" charset="2"/>
              <a:buChar char=""/>
            </a:pPr>
            <a:r>
              <a:rPr lang="en-US" sz="2400" dirty="0">
                <a:latin typeface="+mj-lt"/>
                <a:ea typeface="Calibri" panose="020F0502020204030204" pitchFamily="34" charset="0"/>
                <a:cs typeface="Times New Roman" panose="02020603050405020304" pitchFamily="18" charset="0"/>
              </a:rPr>
              <a:t>More time to focus on business needs and creating better solutions for end users</a:t>
            </a:r>
          </a:p>
          <a:p>
            <a:pPr marL="342900" marR="0" lvl="0" indent="-342900">
              <a:spcBef>
                <a:spcPts val="600"/>
              </a:spcBef>
              <a:spcAft>
                <a:spcPts val="600"/>
              </a:spcAft>
              <a:buFont typeface="Symbol" panose="05050102010706020507" pitchFamily="18" charset="2"/>
              <a:buChar char=""/>
            </a:pPr>
            <a:r>
              <a:rPr lang="en-US" sz="2400" dirty="0">
                <a:latin typeface="+mj-lt"/>
                <a:ea typeface="Calibri" panose="020F0502020204030204" pitchFamily="34" charset="0"/>
                <a:cs typeface="Times New Roman" panose="02020603050405020304" pitchFamily="18" charset="0"/>
              </a:rPr>
              <a:t>Power BI will meet your security and compliance requirements</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Use Azure Conditional Access policies for secure access</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Manage users, groups, admins (in O365 admin portal)</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View and search audit logs (in O365 Security and Compliance portal)</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View usage metrics</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Specify tenant settings – what features are available in your organization</a:t>
            </a:r>
          </a:p>
        </p:txBody>
      </p:sp>
      <p:sp>
        <p:nvSpPr>
          <p:cNvPr id="65"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6" name="TextBox 65"/>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 name="Group 2"/>
          <p:cNvGrpSpPr/>
          <p:nvPr/>
        </p:nvGrpSpPr>
        <p:grpSpPr>
          <a:xfrm>
            <a:off x="151322" y="867914"/>
            <a:ext cx="2636411" cy="548640"/>
            <a:chOff x="179032" y="1123407"/>
            <a:chExt cx="2636411" cy="548640"/>
          </a:xfrm>
        </p:grpSpPr>
        <p:sp>
          <p:nvSpPr>
            <p:cNvPr id="6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72"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2" name="Group 1"/>
          <p:cNvGrpSpPr/>
          <p:nvPr/>
        </p:nvGrpSpPr>
        <p:grpSpPr>
          <a:xfrm>
            <a:off x="151322" y="1832204"/>
            <a:ext cx="2636411" cy="548640"/>
            <a:chOff x="212649" y="1959486"/>
            <a:chExt cx="2636411" cy="548640"/>
          </a:xfrm>
        </p:grpSpPr>
        <p:sp>
          <p:nvSpPr>
            <p:cNvPr id="79"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80"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81" name="Group 80"/>
          <p:cNvGrpSpPr/>
          <p:nvPr/>
        </p:nvGrpSpPr>
        <p:grpSpPr>
          <a:xfrm>
            <a:off x="151322" y="2796494"/>
            <a:ext cx="2636411" cy="548640"/>
            <a:chOff x="179032" y="1123407"/>
            <a:chExt cx="2636411" cy="548640"/>
          </a:xfrm>
        </p:grpSpPr>
        <p:sp>
          <p:nvSpPr>
            <p:cNvPr id="82"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83"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84" name="Group 83"/>
          <p:cNvGrpSpPr/>
          <p:nvPr/>
        </p:nvGrpSpPr>
        <p:grpSpPr>
          <a:xfrm>
            <a:off x="151322" y="3760784"/>
            <a:ext cx="2636411" cy="548640"/>
            <a:chOff x="179032" y="1123407"/>
            <a:chExt cx="2636411" cy="548640"/>
          </a:xfrm>
        </p:grpSpPr>
        <p:sp>
          <p:nvSpPr>
            <p:cNvPr id="85"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87" name="Group 86"/>
          <p:cNvGrpSpPr/>
          <p:nvPr/>
        </p:nvGrpSpPr>
        <p:grpSpPr>
          <a:xfrm>
            <a:off x="132176" y="4725074"/>
            <a:ext cx="2655557" cy="548640"/>
            <a:chOff x="159886" y="1123407"/>
            <a:chExt cx="2655557" cy="548640"/>
          </a:xfrm>
        </p:grpSpPr>
        <p:sp>
          <p:nvSpPr>
            <p:cNvPr id="88"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89"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90" name="Group 89"/>
          <p:cNvGrpSpPr/>
          <p:nvPr/>
        </p:nvGrpSpPr>
        <p:grpSpPr>
          <a:xfrm>
            <a:off x="151322" y="5689364"/>
            <a:ext cx="2636411" cy="548640"/>
            <a:chOff x="179032" y="1123407"/>
            <a:chExt cx="2636411" cy="548640"/>
          </a:xfrm>
        </p:grpSpPr>
        <p:sp>
          <p:nvSpPr>
            <p:cNvPr id="91"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93" name="Freeform 92"/>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94" name="Group 93"/>
          <p:cNvGrpSpPr>
            <a:grpSpLocks noChangeAspect="1"/>
          </p:cNvGrpSpPr>
          <p:nvPr/>
        </p:nvGrpSpPr>
        <p:grpSpPr>
          <a:xfrm>
            <a:off x="284268" y="1947738"/>
            <a:ext cx="314004" cy="320040"/>
            <a:chOff x="810855" y="2271601"/>
            <a:chExt cx="457200" cy="465990"/>
          </a:xfrm>
        </p:grpSpPr>
        <p:sp>
          <p:nvSpPr>
            <p:cNvPr id="95"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95"/>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98" name="Group 97"/>
          <p:cNvGrpSpPr>
            <a:grpSpLocks noChangeAspect="1"/>
          </p:cNvGrpSpPr>
          <p:nvPr/>
        </p:nvGrpSpPr>
        <p:grpSpPr>
          <a:xfrm>
            <a:off x="197042" y="2842214"/>
            <a:ext cx="457200" cy="457200"/>
            <a:chOff x="719415" y="3138080"/>
            <a:chExt cx="640080" cy="640080"/>
          </a:xfrm>
        </p:grpSpPr>
        <p:pic>
          <p:nvPicPr>
            <p:cNvPr id="99"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100" name="Picture 99"/>
            <p:cNvPicPr>
              <a:picLocks noChangeAspect="1"/>
            </p:cNvPicPr>
            <p:nvPr/>
          </p:nvPicPr>
          <p:blipFill>
            <a:blip r:embed="rId4"/>
            <a:stretch>
              <a:fillRect/>
            </a:stretch>
          </p:blipFill>
          <p:spPr>
            <a:xfrm flipH="1">
              <a:off x="975955" y="3370303"/>
              <a:ext cx="127000" cy="175846"/>
            </a:xfrm>
            <a:prstGeom prst="rect">
              <a:avLst/>
            </a:prstGeom>
          </p:spPr>
        </p:pic>
      </p:grpSp>
      <p:sp>
        <p:nvSpPr>
          <p:cNvPr id="102"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101"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103" name="Freeform 102"/>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04" name="Rectangle 103"/>
          <p:cNvSpPr/>
          <p:nvPr/>
        </p:nvSpPr>
        <p:spPr bwMode="auto">
          <a:xfrm>
            <a:off x="-1464" y="1520549"/>
            <a:ext cx="2816907" cy="5337451"/>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786298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chemeClr val="tx1"/>
                </a:solidFill>
              </a:rPr>
              <a:t>Built-in connectivity to all of your data</a:t>
            </a:r>
          </a:p>
          <a:p>
            <a:pPr marL="168275"/>
            <a:endParaRPr lang="en-US" sz="3600" b="1">
              <a:solidFill>
                <a:schemeClr val="tx1"/>
              </a:solidFill>
            </a:endParaRPr>
          </a:p>
          <a:p>
            <a:pPr marL="168275"/>
            <a:endParaRPr lang="en-IN" sz="3600">
              <a:solidFill>
                <a:schemeClr val="tx1"/>
              </a:solidFill>
            </a:endParaRPr>
          </a:p>
        </p:txBody>
      </p:sp>
      <p:sp>
        <p:nvSpPr>
          <p:cNvPr id="49" name="Rectangle 48"/>
          <p:cNvSpPr/>
          <p:nvPr/>
        </p:nvSpPr>
        <p:spPr>
          <a:xfrm>
            <a:off x="2815445" y="1188513"/>
            <a:ext cx="5599212" cy="5493812"/>
          </a:xfrm>
          <a:prstGeom prst="rect">
            <a:avLst/>
          </a:prstGeom>
        </p:spPr>
        <p:txBody>
          <a:bodyPr wrap="square">
            <a:spAutoFit/>
          </a:bodyPr>
          <a:lstStyle/>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Lowered IT investment in ETL infrastructure </a:t>
            </a:r>
          </a:p>
          <a:p>
            <a:pPr marL="34290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Data from services</a:t>
            </a:r>
          </a:p>
          <a:p>
            <a:pPr marL="692150" lvl="1" indent="-346075" fontAlgn="base">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Content packs for SaaS services that you already use</a:t>
            </a:r>
          </a:p>
          <a:p>
            <a:pPr marL="692150" lvl="1" indent="-346075" fontAlgn="base">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Growing number of supported SaaS solutions</a:t>
            </a:r>
          </a:p>
          <a:p>
            <a:pPr marL="34290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Data from databases</a:t>
            </a:r>
          </a:p>
          <a:p>
            <a:pPr marL="692150" lvl="1" indent="-346075" fontAlgn="base">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Cloud: Azure SQL Database, Azure SQL Data Warehouse, Spark on HDInsight</a:t>
            </a:r>
          </a:p>
          <a:p>
            <a:pPr marL="692150" lvl="1" indent="-346075" fontAlgn="base">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On-premise: SQL Server Analysis Services tabular or multi-dimensional, SQL Server, SAP HANA, Oracle, Teradata (Gateway required)</a:t>
            </a:r>
          </a:p>
          <a:p>
            <a:pPr marL="34290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Data from your organization</a:t>
            </a:r>
          </a:p>
          <a:p>
            <a:pPr marL="692150" lvl="1" indent="-346075" fontAlgn="base">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Content published by others in your org</a:t>
            </a:r>
            <a:endParaRPr lang="en-US" dirty="0">
              <a:latin typeface="+mj-lt"/>
              <a:ea typeface="Calibri" panose="020F0502020204030204" pitchFamily="34" charset="0"/>
              <a:cs typeface="Times New Roman" panose="02020603050405020304" pitchFamily="18" charset="0"/>
            </a:endParaRPr>
          </a:p>
          <a:p>
            <a:pPr marL="34290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Data from files</a:t>
            </a:r>
          </a:p>
          <a:p>
            <a:pPr marL="692150" lvl="1" indent="-346075" fontAlgn="base">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Import data from Excel, Power BI Desktop, or CSV files</a:t>
            </a:r>
          </a:p>
          <a:p>
            <a:pPr marL="692150" lvl="1" indent="-346075" fontAlgn="base">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Connect (upload), manage and view Excel in Power BI</a:t>
            </a:r>
          </a:p>
          <a:p>
            <a:pPr marL="34290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Solution templates</a:t>
            </a:r>
          </a:p>
          <a:p>
            <a:pPr marL="692150" lvl="1" indent="-346075" fontAlgn="base">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Quickly provision end-to-end, enterprise solutions</a:t>
            </a: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2637201"/>
            <a:ext cx="2816907" cy="4220799"/>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0" y="657643"/>
            <a:ext cx="2787733" cy="874445"/>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p:cNvPicPr>
            <a:picLocks noChangeAspect="1"/>
          </p:cNvPicPr>
          <p:nvPr/>
        </p:nvPicPr>
        <p:blipFill>
          <a:blip r:embed="rId5"/>
          <a:stretch>
            <a:fillRect/>
          </a:stretch>
        </p:blipFill>
        <p:spPr>
          <a:xfrm>
            <a:off x="8306041" y="2405174"/>
            <a:ext cx="3657600" cy="2047652"/>
          </a:xfrm>
          <a:prstGeom prst="rect">
            <a:avLst/>
          </a:prstGeom>
          <a:ln>
            <a:solidFill>
              <a:schemeClr val="tx2">
                <a:lumMod val="20000"/>
                <a:lumOff val="80000"/>
              </a:schemeClr>
            </a:solidFill>
          </a:ln>
        </p:spPr>
      </p:pic>
    </p:spTree>
    <p:extLst>
      <p:ext uri="{BB962C8B-B14F-4D97-AF65-F5344CB8AC3E}">
        <p14:creationId xmlns:p14="http://schemas.microsoft.com/office/powerpoint/2010/main" val="15572626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23811" y="9056"/>
            <a:ext cx="9250959"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chemeClr val="tx1"/>
                </a:solidFill>
              </a:rPr>
              <a:t>Create organizational content packs</a:t>
            </a:r>
            <a:endParaRPr lang="en-US" sz="3600" b="1">
              <a:solidFill>
                <a:schemeClr val="tx1"/>
              </a:solidFill>
            </a:endParaRPr>
          </a:p>
          <a:p>
            <a:pPr marL="168275"/>
            <a:endParaRPr lang="en-IN" sz="3600">
              <a:solidFill>
                <a:schemeClr val="tx1"/>
              </a:solidFill>
            </a:endParaRP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2637201"/>
            <a:ext cx="2816907" cy="4220799"/>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0" y="657643"/>
            <a:ext cx="2787733" cy="874445"/>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130"/>
          <p:cNvSpPr/>
          <p:nvPr/>
        </p:nvSpPr>
        <p:spPr>
          <a:xfrm>
            <a:off x="2823811" y="1175261"/>
            <a:ext cx="5135013" cy="4308872"/>
          </a:xfrm>
          <a:prstGeom prst="rect">
            <a:avLst/>
          </a:prstGeom>
        </p:spPr>
        <p:txBody>
          <a:bodyPr wrap="square">
            <a:spAutoFit/>
          </a:bodyPr>
          <a:lstStyle/>
          <a:p>
            <a:pPr marL="342900" marR="0" lvl="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IT can work with the business analysts to create content packs for an organization</a:t>
            </a:r>
          </a:p>
          <a:p>
            <a:pPr marL="342900" marR="0" lvl="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Content packs include</a:t>
            </a:r>
          </a:p>
          <a:p>
            <a:pPr marL="800100" lvl="1" indent="-342900">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pre-built dashboards</a:t>
            </a:r>
          </a:p>
          <a:p>
            <a:pPr marL="800100" lvl="1" indent="-342900">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reports</a:t>
            </a:r>
          </a:p>
          <a:p>
            <a:pPr marL="800100" lvl="1" indent="-342900">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pre-defined data models</a:t>
            </a:r>
          </a:p>
          <a:p>
            <a:pPr marL="342900" marR="0" lvl="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IT can focus on providing authoritative datasets to analysts and end users, instead of developing reports</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Sample content packs for industry related scenarios are provided</a:t>
            </a:r>
          </a:p>
          <a:p>
            <a:pPr marL="342900" marR="0" lvl="0" indent="-342900">
              <a:spcBef>
                <a:spcPts val="600"/>
              </a:spcBef>
              <a:spcAft>
                <a:spcPts val="600"/>
              </a:spcAft>
              <a:buFont typeface="Symbol" panose="05050102010706020507" pitchFamily="18" charset="2"/>
              <a:buChar char=""/>
            </a:pPr>
            <a:endParaRPr lang="en-US" sz="2000">
              <a:latin typeface="+mj-lt"/>
              <a:ea typeface="Calibri" panose="020F0502020204030204" pitchFamily="34" charset="0"/>
              <a:cs typeface="Times New Roman" panose="02020603050405020304" pitchFamily="18" charset="0"/>
            </a:endParaRPr>
          </a:p>
        </p:txBody>
      </p:sp>
      <p:sp>
        <p:nvSpPr>
          <p:cNvPr id="11" name="TextBox 10"/>
          <p:cNvSpPr txBox="1"/>
          <p:nvPr/>
        </p:nvSpPr>
        <p:spPr>
          <a:xfrm>
            <a:off x="8746447" y="2551165"/>
            <a:ext cx="818550"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a:solidFill>
                  <a:schemeClr val="bg1"/>
                </a:solidFill>
              </a:rPr>
              <a:t>Global Sales</a:t>
            </a:r>
          </a:p>
        </p:txBody>
      </p:sp>
      <p:pic>
        <p:nvPicPr>
          <p:cNvPr id="66" name="Picture 65"/>
          <p:cNvPicPr>
            <a:picLocks noChangeAspect="1"/>
          </p:cNvPicPr>
          <p:nvPr/>
        </p:nvPicPr>
        <p:blipFill>
          <a:blip r:embed="rId5"/>
          <a:stretch>
            <a:fillRect/>
          </a:stretch>
        </p:blipFill>
        <p:spPr>
          <a:xfrm>
            <a:off x="8209109" y="1221765"/>
            <a:ext cx="3433191" cy="4256128"/>
          </a:xfrm>
          <a:prstGeom prst="rect">
            <a:avLst/>
          </a:prstGeom>
          <a:ln>
            <a:solidFill>
              <a:schemeClr val="bg2"/>
            </a:solidFill>
          </a:ln>
          <a:effectLst/>
        </p:spPr>
      </p:pic>
    </p:spTree>
    <p:extLst>
      <p:ext uri="{BB962C8B-B14F-4D97-AF65-F5344CB8AC3E}">
        <p14:creationId xmlns:p14="http://schemas.microsoft.com/office/powerpoint/2010/main" val="22798329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spc="0">
                <a:ln>
                  <a:noFill/>
                </a:ln>
                <a:solidFill>
                  <a:srgbClr val="000000"/>
                </a:solidFill>
                <a:cs typeface="+mn-cs"/>
              </a:rPr>
              <a:t>Get instant value from your cloud data sources</a:t>
            </a:r>
            <a:endParaRPr lang="en-US" sz="3600">
              <a:solidFill>
                <a:schemeClr val="tx1"/>
              </a:solidFill>
            </a:endParaRPr>
          </a:p>
          <a:p>
            <a:pPr marL="168275"/>
            <a:endParaRPr lang="en-US" sz="3600" b="1">
              <a:solidFill>
                <a:schemeClr val="tx1"/>
              </a:solidFill>
            </a:endParaRPr>
          </a:p>
          <a:p>
            <a:pPr marL="168275"/>
            <a:endParaRPr lang="en-IN" sz="3600">
              <a:solidFill>
                <a:schemeClr val="tx1"/>
              </a:solidFill>
            </a:endParaRPr>
          </a:p>
        </p:txBody>
      </p:sp>
      <p:sp>
        <p:nvSpPr>
          <p:cNvPr id="49" name="Rectangle 48"/>
          <p:cNvSpPr/>
          <p:nvPr/>
        </p:nvSpPr>
        <p:spPr>
          <a:xfrm>
            <a:off x="2852858" y="1188513"/>
            <a:ext cx="4551437" cy="4724370"/>
          </a:xfrm>
          <a:prstGeom prst="rect">
            <a:avLst/>
          </a:prstGeom>
        </p:spPr>
        <p:txBody>
          <a:bodyPr wrap="square">
            <a:spAutoFit/>
          </a:bodyPr>
          <a:lstStyle/>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No need to build connectors or develop data extraction processes for your SaaS solutions</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Business can quickly start with solution-specific content packs which include </a:t>
            </a:r>
          </a:p>
          <a:p>
            <a:pPr marL="800100" lvl="1" indent="-342900">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pre-configured dashboards</a:t>
            </a:r>
          </a:p>
          <a:p>
            <a:pPr marL="800100" lvl="1" indent="-342900">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reports</a:t>
            </a:r>
          </a:p>
          <a:p>
            <a:pPr marL="800100" lvl="1" indent="-342900">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data models</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Users can explore data with fast data processing</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Automatic data refresh is built-in</a:t>
            </a:r>
          </a:p>
          <a:p>
            <a:pPr marL="342900" indent="-342900">
              <a:lnSpc>
                <a:spcPct val="150000"/>
              </a:lnSpc>
              <a:spcBef>
                <a:spcPts val="600"/>
              </a:spcBef>
              <a:spcAft>
                <a:spcPts val="600"/>
              </a:spcAft>
              <a:buFont typeface="Symbol" panose="05050102010706020507" pitchFamily="18" charset="2"/>
              <a:buChar char=""/>
            </a:pPr>
            <a:endParaRPr lang="en-US">
              <a:latin typeface="+mj-lt"/>
              <a:ea typeface="Calibri" panose="020F0502020204030204" pitchFamily="34" charset="0"/>
              <a:cs typeface="Times New Roman" panose="02020603050405020304" pitchFamily="18" charset="0"/>
            </a:endParaRP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2637201"/>
            <a:ext cx="2816907" cy="4220799"/>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0" y="657643"/>
            <a:ext cx="2787733" cy="874445"/>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a:xfrm>
            <a:off x="7425897" y="6238004"/>
            <a:ext cx="4766103" cy="307777"/>
          </a:xfrm>
          <a:prstGeom prst="rect">
            <a:avLst/>
          </a:prstGeom>
        </p:spPr>
        <p:txBody>
          <a:bodyPr wrap="square">
            <a:spAutoFit/>
          </a:bodyPr>
          <a:lstStyle/>
          <a:p>
            <a:pPr fontAlgn="base">
              <a:spcBef>
                <a:spcPts val="600"/>
              </a:spcBef>
              <a:spcAft>
                <a:spcPts val="600"/>
              </a:spcAft>
            </a:pPr>
            <a:r>
              <a:rPr lang="en-US" sz="1400">
                <a:solidFill>
                  <a:schemeClr val="bg2">
                    <a:lumMod val="75000"/>
                  </a:schemeClr>
                </a:solidFill>
              </a:rPr>
              <a:t>Please refer to powerbi.com</a:t>
            </a:r>
            <a:r>
              <a:rPr lang="en-US" sz="1400">
                <a:solidFill>
                  <a:schemeClr val="bg2">
                    <a:lumMod val="75000"/>
                  </a:schemeClr>
                </a:solidFill>
                <a:hlinkClick r:id="rId5"/>
              </a:rPr>
              <a:t> </a:t>
            </a:r>
            <a:r>
              <a:rPr lang="en-US" sz="1400">
                <a:solidFill>
                  <a:schemeClr val="bg2">
                    <a:lumMod val="75000"/>
                  </a:schemeClr>
                </a:solidFill>
              </a:rPr>
              <a:t>for latest list of SaaS partners</a:t>
            </a:r>
            <a:endParaRPr lang="en-US" sz="1400">
              <a:solidFill>
                <a:schemeClr val="bg2">
                  <a:lumMod val="75000"/>
                </a:schemeClr>
              </a:solidFill>
              <a:ea typeface="Calibri" panose="020F0502020204030204" pitchFamily="34" charset="0"/>
              <a:cs typeface="Times New Roman" panose="02020603050405020304" pitchFamily="18" charset="0"/>
            </a:endParaRPr>
          </a:p>
        </p:txBody>
      </p:sp>
      <p:pic>
        <p:nvPicPr>
          <p:cNvPr id="66" name="Picture 65"/>
          <p:cNvPicPr>
            <a:picLocks noChangeAspect="1"/>
          </p:cNvPicPr>
          <p:nvPr/>
        </p:nvPicPr>
        <p:blipFill>
          <a:blip r:embed="rId6"/>
          <a:stretch>
            <a:fillRect/>
          </a:stretch>
        </p:blipFill>
        <p:spPr>
          <a:xfrm>
            <a:off x="7751548" y="2141091"/>
            <a:ext cx="4114800" cy="2242606"/>
          </a:xfrm>
          <a:prstGeom prst="rect">
            <a:avLst/>
          </a:prstGeom>
          <a:ln>
            <a:solidFill>
              <a:schemeClr val="tx2">
                <a:lumMod val="20000"/>
                <a:lumOff val="80000"/>
              </a:schemeClr>
            </a:solidFill>
          </a:ln>
        </p:spPr>
      </p:pic>
    </p:spTree>
    <p:extLst>
      <p:ext uri="{BB962C8B-B14F-4D97-AF65-F5344CB8AC3E}">
        <p14:creationId xmlns:p14="http://schemas.microsoft.com/office/powerpoint/2010/main" val="25252876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500"/>
                                        <p:tgtEl>
                                          <p:spTgt spid="6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66"/>
                                        </p:tgtEl>
                                      </p:cBhvr>
                                    </p:animEffect>
                                    <p:set>
                                      <p:cBhvr>
                                        <p:cTn id="12" dur="1" fill="hold">
                                          <p:stCondLst>
                                            <p:cond delay="499"/>
                                          </p:stCondLst>
                                        </p:cTn>
                                        <p:tgtEl>
                                          <p:spTgt spid="6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rgbClr val="000000"/>
                </a:solidFill>
              </a:rPr>
              <a:t>Consume structured/unstructured data using other Azure services</a:t>
            </a:r>
          </a:p>
          <a:p>
            <a:pPr marL="168275"/>
            <a:endParaRPr lang="en-US" sz="3600">
              <a:solidFill>
                <a:schemeClr val="tx1"/>
              </a:solidFill>
            </a:endParaRPr>
          </a:p>
          <a:p>
            <a:pPr marL="168275"/>
            <a:endParaRPr lang="en-US" sz="3600" b="1">
              <a:solidFill>
                <a:schemeClr val="tx1"/>
              </a:solidFill>
            </a:endParaRPr>
          </a:p>
          <a:p>
            <a:pPr marL="168275"/>
            <a:endParaRPr lang="en-IN" sz="3600">
              <a:solidFill>
                <a:schemeClr val="tx1"/>
              </a:solidFill>
            </a:endParaRP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2637201"/>
            <a:ext cx="2816907" cy="4220799"/>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0" y="657643"/>
            <a:ext cx="2815443" cy="874445"/>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130"/>
          <p:cNvSpPr/>
          <p:nvPr/>
        </p:nvSpPr>
        <p:spPr>
          <a:xfrm>
            <a:off x="2878466" y="1175261"/>
            <a:ext cx="5542877" cy="3600986"/>
          </a:xfrm>
          <a:prstGeom prst="rect">
            <a:avLst/>
          </a:prstGeom>
        </p:spPr>
        <p:txBody>
          <a:bodyPr wrap="square">
            <a:spAutoFit/>
          </a:bodyPr>
          <a:lstStyle/>
          <a:p>
            <a:pPr marL="342900" marR="0" lvl="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Connect directly to data from Azure services, including</a:t>
            </a:r>
          </a:p>
          <a:p>
            <a:pPr marL="800100" lvl="1" indent="-342900">
              <a:buFont typeface="Courier New" panose="02070309020205020404" pitchFamily="49" charset="0"/>
              <a:buChar char="o"/>
            </a:pPr>
            <a:r>
              <a:rPr lang="en-US" sz="1600">
                <a:latin typeface="+mj-lt"/>
                <a:ea typeface="Calibri" panose="020F0502020204030204" pitchFamily="34" charset="0"/>
                <a:cs typeface="Times New Roman" panose="02020603050405020304" pitchFamily="18" charset="0"/>
              </a:rPr>
              <a:t>Azure SQL Database</a:t>
            </a:r>
          </a:p>
          <a:p>
            <a:pPr marL="800100" lvl="1" indent="-342900">
              <a:buFont typeface="Courier New" panose="02070309020205020404" pitchFamily="49" charset="0"/>
              <a:buChar char="o"/>
            </a:pPr>
            <a:r>
              <a:rPr lang="en-US" sz="1600">
                <a:latin typeface="+mj-lt"/>
                <a:ea typeface="Calibri" panose="020F0502020204030204" pitchFamily="34" charset="0"/>
                <a:cs typeface="Times New Roman" panose="02020603050405020304" pitchFamily="18" charset="0"/>
              </a:rPr>
              <a:t>Azure SQL Data Warehouse</a:t>
            </a:r>
          </a:p>
          <a:p>
            <a:pPr marL="800100" lvl="1" indent="-342900">
              <a:buFont typeface="Courier New" panose="02070309020205020404" pitchFamily="49" charset="0"/>
              <a:buChar char="o"/>
            </a:pPr>
            <a:r>
              <a:rPr lang="en-US" sz="1600">
                <a:latin typeface="+mj-lt"/>
                <a:ea typeface="Calibri" panose="020F0502020204030204" pitchFamily="34" charset="0"/>
                <a:cs typeface="Times New Roman" panose="02020603050405020304" pitchFamily="18" charset="0"/>
              </a:rPr>
              <a:t>Spark on HDInsight</a:t>
            </a:r>
          </a:p>
          <a:p>
            <a:pPr marL="342900" marR="0" lvl="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Push live, streaming data from Azure Stream Analytics with built-in destination for Power BI for real-time dashboards at any scale</a:t>
            </a:r>
          </a:p>
          <a:p>
            <a:pPr marL="342900" marR="0" lvl="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Integration with other Azure services, including Azure ML, opens up new scenarios, without writing thousands of lines of code</a:t>
            </a:r>
          </a:p>
        </p:txBody>
      </p:sp>
      <p:sp>
        <p:nvSpPr>
          <p:cNvPr id="65" name="Rectangle 64"/>
          <p:cNvSpPr/>
          <p:nvPr/>
        </p:nvSpPr>
        <p:spPr bwMode="auto">
          <a:xfrm>
            <a:off x="8541694" y="1557251"/>
            <a:ext cx="3242256" cy="4308956"/>
          </a:xfrm>
          <a:prstGeom prst="rect">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6" name="Group 65"/>
          <p:cNvGrpSpPr/>
          <p:nvPr/>
        </p:nvGrpSpPr>
        <p:grpSpPr>
          <a:xfrm>
            <a:off x="9856978" y="4751760"/>
            <a:ext cx="943424" cy="756782"/>
            <a:chOff x="10233165" y="3488430"/>
            <a:chExt cx="943424" cy="756782"/>
          </a:xfrm>
        </p:grpSpPr>
        <p:pic>
          <p:nvPicPr>
            <p:cNvPr id="67" name="Picture 66"/>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476277" y="3488430"/>
              <a:ext cx="457200" cy="457200"/>
            </a:xfrm>
            <a:prstGeom prst="rect">
              <a:avLst/>
            </a:prstGeom>
          </p:spPr>
        </p:pic>
        <p:sp>
          <p:nvSpPr>
            <p:cNvPr id="72" name="TextBox 71"/>
            <p:cNvSpPr txBox="1"/>
            <p:nvPr/>
          </p:nvSpPr>
          <p:spPr>
            <a:xfrm>
              <a:off x="10233165" y="3811247"/>
              <a:ext cx="943424" cy="433965"/>
            </a:xfrm>
            <a:prstGeom prst="rect">
              <a:avLst/>
            </a:prstGeom>
            <a:noFill/>
          </p:spPr>
          <p:txBody>
            <a:bodyPr wrap="square" lIns="182880" tIns="146304" rIns="182880" bIns="146304" rtlCol="0">
              <a:spAutoFit/>
            </a:bodyPr>
            <a:lstStyle/>
            <a:p>
              <a:pPr>
                <a:lnSpc>
                  <a:spcPct val="90000"/>
                </a:lnSpc>
                <a:spcAft>
                  <a:spcPts val="600"/>
                </a:spcAft>
              </a:pPr>
              <a:r>
                <a:rPr lang="en-US" sz="1000"/>
                <a:t>HDInsight</a:t>
              </a:r>
            </a:p>
          </p:txBody>
        </p:sp>
      </p:grpSp>
      <p:grpSp>
        <p:nvGrpSpPr>
          <p:cNvPr id="75" name="Group 74"/>
          <p:cNvGrpSpPr/>
          <p:nvPr/>
        </p:nvGrpSpPr>
        <p:grpSpPr>
          <a:xfrm>
            <a:off x="8684240" y="3735604"/>
            <a:ext cx="943424" cy="786554"/>
            <a:chOff x="8600989" y="2320219"/>
            <a:chExt cx="943424" cy="786554"/>
          </a:xfrm>
        </p:grpSpPr>
        <p:pic>
          <p:nvPicPr>
            <p:cNvPr id="76" name="Picture 7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8844101" y="2320219"/>
              <a:ext cx="457200" cy="457200"/>
            </a:xfrm>
            <a:prstGeom prst="rect">
              <a:avLst/>
            </a:prstGeom>
          </p:spPr>
        </p:pic>
        <p:sp>
          <p:nvSpPr>
            <p:cNvPr id="77" name="TextBox 76"/>
            <p:cNvSpPr txBox="1"/>
            <p:nvPr/>
          </p:nvSpPr>
          <p:spPr>
            <a:xfrm>
              <a:off x="8600989" y="2672808"/>
              <a:ext cx="943424" cy="433965"/>
            </a:xfrm>
            <a:prstGeom prst="rect">
              <a:avLst/>
            </a:prstGeom>
            <a:noFill/>
          </p:spPr>
          <p:txBody>
            <a:bodyPr wrap="square" lIns="182880" tIns="146304" rIns="182880" bIns="146304" rtlCol="0">
              <a:spAutoFit/>
            </a:bodyPr>
            <a:lstStyle/>
            <a:p>
              <a:pPr algn="ctr">
                <a:lnSpc>
                  <a:spcPct val="90000"/>
                </a:lnSpc>
                <a:spcAft>
                  <a:spcPts val="600"/>
                </a:spcAft>
              </a:pPr>
              <a:r>
                <a:rPr lang="en-US" sz="1000"/>
                <a:t>Storage</a:t>
              </a:r>
            </a:p>
          </p:txBody>
        </p:sp>
      </p:grpSp>
      <p:grpSp>
        <p:nvGrpSpPr>
          <p:cNvPr id="78" name="Group 77"/>
          <p:cNvGrpSpPr/>
          <p:nvPr/>
        </p:nvGrpSpPr>
        <p:grpSpPr>
          <a:xfrm>
            <a:off x="9850497" y="1846951"/>
            <a:ext cx="943424" cy="950812"/>
            <a:chOff x="10610076" y="2020001"/>
            <a:chExt cx="943424" cy="950812"/>
          </a:xfrm>
        </p:grpSpPr>
        <p:pic>
          <p:nvPicPr>
            <p:cNvPr id="79" name="Picture 78"/>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10853188" y="2020001"/>
              <a:ext cx="457200" cy="457200"/>
            </a:xfrm>
            <a:prstGeom prst="rect">
              <a:avLst/>
            </a:prstGeom>
          </p:spPr>
        </p:pic>
        <p:sp>
          <p:nvSpPr>
            <p:cNvPr id="80" name="TextBox 79"/>
            <p:cNvSpPr txBox="1"/>
            <p:nvPr/>
          </p:nvSpPr>
          <p:spPr>
            <a:xfrm>
              <a:off x="10610076" y="2398349"/>
              <a:ext cx="943424"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a:t>Event Hubs</a:t>
              </a:r>
            </a:p>
          </p:txBody>
        </p:sp>
      </p:grpSp>
      <p:grpSp>
        <p:nvGrpSpPr>
          <p:cNvPr id="104" name="Group 103"/>
          <p:cNvGrpSpPr/>
          <p:nvPr/>
        </p:nvGrpSpPr>
        <p:grpSpPr>
          <a:xfrm>
            <a:off x="8652707" y="2759970"/>
            <a:ext cx="943424" cy="948116"/>
            <a:chOff x="9002661" y="3227014"/>
            <a:chExt cx="943424" cy="948116"/>
          </a:xfrm>
        </p:grpSpPr>
        <p:pic>
          <p:nvPicPr>
            <p:cNvPr id="105" name="Picture 104"/>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9234246" y="3227014"/>
              <a:ext cx="457200" cy="457200"/>
            </a:xfrm>
            <a:prstGeom prst="rect">
              <a:avLst/>
            </a:prstGeom>
          </p:spPr>
        </p:pic>
        <p:sp>
          <p:nvSpPr>
            <p:cNvPr id="106" name="TextBox 105"/>
            <p:cNvSpPr txBox="1"/>
            <p:nvPr/>
          </p:nvSpPr>
          <p:spPr>
            <a:xfrm>
              <a:off x="9002661" y="3602666"/>
              <a:ext cx="943424"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a:t>Machine Learning</a:t>
              </a:r>
            </a:p>
          </p:txBody>
        </p:sp>
      </p:grpSp>
      <p:grpSp>
        <p:nvGrpSpPr>
          <p:cNvPr id="107" name="Group 106"/>
          <p:cNvGrpSpPr/>
          <p:nvPr/>
        </p:nvGrpSpPr>
        <p:grpSpPr>
          <a:xfrm>
            <a:off x="9119823" y="4344290"/>
            <a:ext cx="1015682" cy="842205"/>
            <a:chOff x="10601932" y="1930074"/>
            <a:chExt cx="1015682" cy="842205"/>
          </a:xfrm>
        </p:grpSpPr>
        <p:pic>
          <p:nvPicPr>
            <p:cNvPr id="108" name="Picture 107"/>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866422" y="1930074"/>
              <a:ext cx="457200" cy="457200"/>
            </a:xfrm>
            <a:prstGeom prst="rect">
              <a:avLst/>
            </a:prstGeom>
          </p:spPr>
        </p:pic>
        <p:sp>
          <p:nvSpPr>
            <p:cNvPr id="109" name="TextBox 108"/>
            <p:cNvSpPr txBox="1"/>
            <p:nvPr/>
          </p:nvSpPr>
          <p:spPr>
            <a:xfrm>
              <a:off x="10601932" y="2338314"/>
              <a:ext cx="1015682" cy="433965"/>
            </a:xfrm>
            <a:prstGeom prst="rect">
              <a:avLst/>
            </a:prstGeom>
            <a:noFill/>
          </p:spPr>
          <p:txBody>
            <a:bodyPr wrap="square" lIns="182880" tIns="146304" rIns="182880" bIns="146304" rtlCol="0">
              <a:spAutoFit/>
            </a:bodyPr>
            <a:lstStyle/>
            <a:p>
              <a:pPr algn="ctr">
                <a:lnSpc>
                  <a:spcPct val="90000"/>
                </a:lnSpc>
                <a:spcAft>
                  <a:spcPts val="600"/>
                </a:spcAft>
              </a:pPr>
              <a:r>
                <a:rPr lang="en-US" sz="1000"/>
                <a:t>SQL Server</a:t>
              </a:r>
            </a:p>
          </p:txBody>
        </p:sp>
      </p:grpSp>
      <p:grpSp>
        <p:nvGrpSpPr>
          <p:cNvPr id="110" name="Group 109"/>
          <p:cNvGrpSpPr/>
          <p:nvPr/>
        </p:nvGrpSpPr>
        <p:grpSpPr>
          <a:xfrm>
            <a:off x="9124419" y="1941060"/>
            <a:ext cx="943424" cy="887242"/>
            <a:chOff x="9002242" y="1575399"/>
            <a:chExt cx="943424" cy="887242"/>
          </a:xfrm>
        </p:grpSpPr>
        <p:pic>
          <p:nvPicPr>
            <p:cNvPr id="111" name="Picture 110"/>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9245773" y="1575399"/>
              <a:ext cx="457200" cy="457200"/>
            </a:xfrm>
            <a:prstGeom prst="rect">
              <a:avLst/>
            </a:prstGeom>
          </p:spPr>
        </p:pic>
        <p:sp>
          <p:nvSpPr>
            <p:cNvPr id="112" name="TextBox 111"/>
            <p:cNvSpPr txBox="1"/>
            <p:nvPr/>
          </p:nvSpPr>
          <p:spPr>
            <a:xfrm>
              <a:off x="9002242" y="1890177"/>
              <a:ext cx="943424"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a:t>Stream Analytics</a:t>
              </a:r>
            </a:p>
          </p:txBody>
        </p:sp>
      </p:grpSp>
      <p:pic>
        <p:nvPicPr>
          <p:cNvPr id="113" name="Picture 11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578271" y="3228912"/>
            <a:ext cx="640080" cy="674100"/>
          </a:xfrm>
          <a:prstGeom prst="rect">
            <a:avLst/>
          </a:prstGeom>
        </p:spPr>
      </p:pic>
      <p:sp>
        <p:nvSpPr>
          <p:cNvPr id="114" name="TextBox 113"/>
          <p:cNvSpPr txBox="1"/>
          <p:nvPr/>
        </p:nvSpPr>
        <p:spPr>
          <a:xfrm>
            <a:off x="10388654" y="3778425"/>
            <a:ext cx="1087964"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a:t>Power BI</a:t>
            </a:r>
          </a:p>
        </p:txBody>
      </p:sp>
      <p:cxnSp>
        <p:nvCxnSpPr>
          <p:cNvPr id="115" name="Straight Arrow Connector 114"/>
          <p:cNvCxnSpPr/>
          <p:nvPr/>
        </p:nvCxnSpPr>
        <p:spPr>
          <a:xfrm>
            <a:off x="10067843" y="2759970"/>
            <a:ext cx="267392" cy="298704"/>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p:nvPr/>
        </p:nvCxnSpPr>
        <p:spPr>
          <a:xfrm flipV="1">
            <a:off x="9627664" y="3614383"/>
            <a:ext cx="541705" cy="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p:nvPr/>
        </p:nvCxnSpPr>
        <p:spPr>
          <a:xfrm flipV="1">
            <a:off x="10093609" y="4192804"/>
            <a:ext cx="295045" cy="35739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78788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Parallelogram 164"/>
          <p:cNvSpPr/>
          <p:nvPr/>
        </p:nvSpPr>
        <p:spPr bwMode="auto">
          <a:xfrm>
            <a:off x="-32539" y="172662"/>
            <a:ext cx="7771985" cy="1089978"/>
          </a:xfrm>
          <a:custGeom>
            <a:avLst/>
            <a:gdLst>
              <a:gd name="connsiteX0" fmla="*/ 0 w 6521918"/>
              <a:gd name="connsiteY0" fmla="*/ 1062028 h 1062028"/>
              <a:gd name="connsiteX1" fmla="*/ 608383 w 6521918"/>
              <a:gd name="connsiteY1" fmla="*/ 0 h 1062028"/>
              <a:gd name="connsiteX2" fmla="*/ 6521918 w 6521918"/>
              <a:gd name="connsiteY2" fmla="*/ 0 h 1062028"/>
              <a:gd name="connsiteX3" fmla="*/ 5913535 w 6521918"/>
              <a:gd name="connsiteY3" fmla="*/ 1062028 h 1062028"/>
              <a:gd name="connsiteX4" fmla="*/ 0 w 6521918"/>
              <a:gd name="connsiteY4" fmla="*/ 1062028 h 1062028"/>
              <a:gd name="connsiteX0" fmla="*/ 34168 w 5913535"/>
              <a:gd name="connsiteY0" fmla="*/ 1074384 h 1074384"/>
              <a:gd name="connsiteX1" fmla="*/ 0 w 5913535"/>
              <a:gd name="connsiteY1" fmla="*/ 0 h 1074384"/>
              <a:gd name="connsiteX2" fmla="*/ 5913535 w 5913535"/>
              <a:gd name="connsiteY2" fmla="*/ 0 h 1074384"/>
              <a:gd name="connsiteX3" fmla="*/ 5305152 w 5913535"/>
              <a:gd name="connsiteY3" fmla="*/ 1062028 h 1074384"/>
              <a:gd name="connsiteX4" fmla="*/ 34168 w 5913535"/>
              <a:gd name="connsiteY4" fmla="*/ 1074384 h 1074384"/>
              <a:gd name="connsiteX0" fmla="*/ 9455 w 5888822"/>
              <a:gd name="connsiteY0" fmla="*/ 1074384 h 1074384"/>
              <a:gd name="connsiteX1" fmla="*/ 0 w 5888822"/>
              <a:gd name="connsiteY1" fmla="*/ 0 h 1074384"/>
              <a:gd name="connsiteX2" fmla="*/ 5888822 w 5888822"/>
              <a:gd name="connsiteY2" fmla="*/ 0 h 1074384"/>
              <a:gd name="connsiteX3" fmla="*/ 5280439 w 5888822"/>
              <a:gd name="connsiteY3" fmla="*/ 1062028 h 1074384"/>
              <a:gd name="connsiteX4" fmla="*/ 9455 w 5888822"/>
              <a:gd name="connsiteY4" fmla="*/ 1074384 h 1074384"/>
              <a:gd name="connsiteX0" fmla="*/ 1880296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1880296 w 7759663"/>
              <a:gd name="connsiteY4" fmla="*/ 1084519 h 1084519"/>
              <a:gd name="connsiteX0" fmla="*/ 9455 w 7759663"/>
              <a:gd name="connsiteY0" fmla="*/ 1084519 h 1084519"/>
              <a:gd name="connsiteX1" fmla="*/ 0 w 7759663"/>
              <a:gd name="connsiteY1" fmla="*/ 0 h 1084519"/>
              <a:gd name="connsiteX2" fmla="*/ 7759663 w 7759663"/>
              <a:gd name="connsiteY2" fmla="*/ 10135 h 1084519"/>
              <a:gd name="connsiteX3" fmla="*/ 7151280 w 7759663"/>
              <a:gd name="connsiteY3" fmla="*/ 1072163 h 1084519"/>
              <a:gd name="connsiteX4" fmla="*/ 9455 w 7759663"/>
              <a:gd name="connsiteY4" fmla="*/ 1084519 h 1084519"/>
              <a:gd name="connsiteX0" fmla="*/ 177621 w 7927829"/>
              <a:gd name="connsiteY0" fmla="*/ 1084519 h 1084519"/>
              <a:gd name="connsiteX1" fmla="*/ 0 w 7927829"/>
              <a:gd name="connsiteY1" fmla="*/ 0 h 1084519"/>
              <a:gd name="connsiteX2" fmla="*/ 7927829 w 7927829"/>
              <a:gd name="connsiteY2" fmla="*/ 10135 h 1084519"/>
              <a:gd name="connsiteX3" fmla="*/ 7319446 w 7927829"/>
              <a:gd name="connsiteY3" fmla="*/ 1072163 h 1084519"/>
              <a:gd name="connsiteX4" fmla="*/ 177621 w 7927829"/>
              <a:gd name="connsiteY4" fmla="*/ 1084519 h 1084519"/>
              <a:gd name="connsiteX0" fmla="*/ 30476 w 7927829"/>
              <a:gd name="connsiteY0" fmla="*/ 1064248 h 1072163"/>
              <a:gd name="connsiteX1" fmla="*/ 0 w 7927829"/>
              <a:gd name="connsiteY1" fmla="*/ 0 h 1072163"/>
              <a:gd name="connsiteX2" fmla="*/ 7927829 w 7927829"/>
              <a:gd name="connsiteY2" fmla="*/ 10135 h 1072163"/>
              <a:gd name="connsiteX3" fmla="*/ 7319446 w 7927829"/>
              <a:gd name="connsiteY3" fmla="*/ 1072163 h 1072163"/>
              <a:gd name="connsiteX4" fmla="*/ 30476 w 7927829"/>
              <a:gd name="connsiteY4" fmla="*/ 1064248 h 1072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7829" h="1072163">
                <a:moveTo>
                  <a:pt x="30476" y="1064248"/>
                </a:moveTo>
                <a:cubicBezTo>
                  <a:pt x="27324" y="706120"/>
                  <a:pt x="3152" y="358128"/>
                  <a:pt x="0" y="0"/>
                </a:cubicBezTo>
                <a:lnTo>
                  <a:pt x="7927829" y="10135"/>
                </a:lnTo>
                <a:lnTo>
                  <a:pt x="7319446" y="1072163"/>
                </a:lnTo>
                <a:lnTo>
                  <a:pt x="30476" y="1064248"/>
                </a:ln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Box 20"/>
          <p:cNvSpPr txBox="1"/>
          <p:nvPr/>
        </p:nvSpPr>
        <p:spPr>
          <a:xfrm>
            <a:off x="280644" y="399261"/>
            <a:ext cx="7145617" cy="673477"/>
          </a:xfrm>
          <a:prstGeom prst="rect">
            <a:avLst/>
          </a:prstGeom>
          <a:noFill/>
        </p:spPr>
        <p:txBody>
          <a:bodyPr wrap="square" lIns="143428" tIns="89642" rIns="143428" bIns="89642" rtlCol="0">
            <a:spAutoFit/>
          </a:bodyPr>
          <a:lstStyle/>
          <a:p>
            <a:pPr marL="0" marR="0" lvl="0" indent="0" algn="l" defTabSz="1218519" rtl="0" eaLnBrk="1" fontAlgn="auto" latinLnBrk="0" hangingPunct="1">
              <a:lnSpc>
                <a:spcPct val="100000"/>
              </a:lnSpc>
              <a:spcBef>
                <a:spcPts val="0"/>
              </a:spcBef>
              <a:spcAft>
                <a:spcPts val="0"/>
              </a:spcAft>
              <a:buClrTx/>
              <a:buSzTx/>
              <a:buFontTx/>
              <a:buNone/>
              <a:tabLst/>
              <a:defRPr/>
            </a:pPr>
            <a:r>
              <a:rPr lang="en-US" sz="3200" b="1" dirty="0">
                <a:solidFill>
                  <a:schemeClr val="bg1"/>
                </a:solidFill>
                <a:latin typeface="Corbel" panose="020B0503020204020204" pitchFamily="34" charset="0"/>
                <a:cs typeface="Segoe UI" panose="020B0502040204020203" pitchFamily="34" charset="0"/>
              </a:rPr>
              <a:t>Meet me</a:t>
            </a:r>
          </a:p>
        </p:txBody>
      </p:sp>
      <p:sp>
        <p:nvSpPr>
          <p:cNvPr id="23" name="TextBox 22">
            <a:extLst>
              <a:ext uri="{FF2B5EF4-FFF2-40B4-BE49-F238E27FC236}">
                <a16:creationId xmlns:a16="http://schemas.microsoft.com/office/drawing/2014/main" id="{D214F6FF-902A-4173-A950-AFC083CBE57E}"/>
              </a:ext>
            </a:extLst>
          </p:cNvPr>
          <p:cNvSpPr txBox="1"/>
          <p:nvPr/>
        </p:nvSpPr>
        <p:spPr>
          <a:xfrm>
            <a:off x="267586" y="1645114"/>
            <a:ext cx="7966843" cy="481362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strike="noStrike" kern="1200" cap="none" spc="0" normalizeH="0" baseline="0" noProof="0" dirty="0">
                <a:ln>
                  <a:noFill/>
                </a:ln>
                <a:solidFill>
                  <a:schemeClr val="bg2">
                    <a:lumMod val="10000"/>
                  </a:schemeClr>
                </a:solidFill>
                <a:effectLst/>
                <a:uLnTx/>
                <a:uFillTx/>
                <a:latin typeface="Corbel" panose="020B0503020204020204" pitchFamily="34" charset="0"/>
              </a:rPr>
              <a:t>Kyle Akepanidtaworn</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2000" b="1" dirty="0">
                <a:solidFill>
                  <a:schemeClr val="bg2">
                    <a:lumMod val="10000"/>
                  </a:schemeClr>
                </a:solidFill>
                <a:latin typeface="Corbel" panose="020B0503020204020204" pitchFamily="34" charset="0"/>
              </a:rPr>
              <a:t>Global Cloud Solution Architect</a:t>
            </a:r>
            <a:r>
              <a:rPr lang="en-US" sz="2000" b="1" noProof="0" dirty="0">
                <a:solidFill>
                  <a:schemeClr val="bg2">
                    <a:lumMod val="10000"/>
                  </a:schemeClr>
                </a:solidFill>
                <a:latin typeface="Corbel" panose="020B0503020204020204" pitchFamily="34" charset="0"/>
              </a:rPr>
              <a:t>, Microsoft</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dirty="0">
                <a:solidFill>
                  <a:schemeClr val="bg2">
                    <a:lumMod val="10000"/>
                  </a:schemeClr>
                </a:solidFill>
                <a:latin typeface="Corbel" panose="020B0503020204020204" pitchFamily="34" charset="0"/>
              </a:rPr>
              <a:t>35+ professional certifications across Microsoft, IBM, Tableau, INSEAD</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dirty="0">
                <a:solidFill>
                  <a:schemeClr val="bg2">
                    <a:lumMod val="10000"/>
                  </a:schemeClr>
                </a:solidFill>
                <a:latin typeface="Corbel" panose="020B0503020204020204" pitchFamily="34" charset="0"/>
              </a:rPr>
              <a:t>Coach for Knowledge Mining and Azure Cognitive Search</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dirty="0">
                <a:solidFill>
                  <a:schemeClr val="bg2">
                    <a:lumMod val="10000"/>
                  </a:schemeClr>
                </a:solidFill>
                <a:latin typeface="Corbel" panose="020B0503020204020204" pitchFamily="34" charset="0"/>
              </a:rPr>
              <a:t>Coach for Modern Data Warehousing on  Azure</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dirty="0">
                <a:solidFill>
                  <a:schemeClr val="bg2">
                    <a:lumMod val="10000"/>
                  </a:schemeClr>
                </a:solidFill>
                <a:latin typeface="Corbel" panose="020B0503020204020204" pitchFamily="34" charset="0"/>
              </a:rPr>
              <a:t>Azure for SAP Workloads</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dirty="0">
                <a:solidFill>
                  <a:schemeClr val="bg2">
                    <a:lumMod val="10000"/>
                  </a:schemeClr>
                </a:solidFill>
                <a:latin typeface="Corbel" panose="020B0503020204020204" pitchFamily="34" charset="0"/>
              </a:rPr>
              <a:t>MCSA: BI Reporting Certified 2020</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dirty="0">
                <a:solidFill>
                  <a:schemeClr val="bg2">
                    <a:lumMod val="10000"/>
                  </a:schemeClr>
                </a:solidFill>
                <a:latin typeface="Corbel" panose="020B0503020204020204" pitchFamily="34" charset="0"/>
              </a:rPr>
              <a:t>Microsoft-INSEAD AI Business School</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dirty="0">
                <a:solidFill>
                  <a:schemeClr val="bg2">
                    <a:lumMod val="10000"/>
                  </a:schemeClr>
                </a:solidFill>
                <a:latin typeface="Corbel" panose="020B0503020204020204" pitchFamily="34" charset="0"/>
              </a:rPr>
              <a:t>Certified Data Analyst, Data Scientist, Data Engineer, and AI Engineer</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dirty="0">
                <a:solidFill>
                  <a:schemeClr val="bg2">
                    <a:lumMod val="10000"/>
                  </a:schemeClr>
                </a:solidFill>
                <a:latin typeface="Corbel" panose="020B0503020204020204" pitchFamily="34" charset="0"/>
              </a:rPr>
              <a:t>Tableau Data Steward, Tableau Data Scientist, Tableau Developer</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1600" dirty="0">
                <a:solidFill>
                  <a:schemeClr val="bg2">
                    <a:lumMod val="10000"/>
                  </a:schemeClr>
                </a:solidFill>
                <a:latin typeface="Corbel" panose="020B0503020204020204" pitchFamily="34" charset="0"/>
              </a:rPr>
              <a:t>IBM Data Science Methodologies</a:t>
            </a:r>
          </a:p>
          <a:p>
            <a:pPr marL="0" marR="0" lvl="0" indent="0" algn="l" defTabSz="914400" rtl="0" eaLnBrk="1" fontAlgn="auto" latinLnBrk="0" hangingPunct="1">
              <a:lnSpc>
                <a:spcPct val="90000"/>
              </a:lnSpc>
              <a:spcBef>
                <a:spcPts val="0"/>
              </a:spcBef>
              <a:spcAft>
                <a:spcPts val="600"/>
              </a:spcAft>
              <a:buClrTx/>
              <a:buSzTx/>
              <a:buFontTx/>
              <a:buNone/>
              <a:tabLst/>
              <a:defRPr/>
            </a:pPr>
            <a:endParaRPr lang="en-US" sz="2400" b="1" dirty="0">
              <a:solidFill>
                <a:schemeClr val="bg2">
                  <a:lumMod val="10000"/>
                </a:schemeClr>
              </a:solidFill>
              <a:latin typeface="Corbel" panose="020B0503020204020204"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lang="en-US" b="1" dirty="0">
                <a:solidFill>
                  <a:schemeClr val="bg2">
                    <a:lumMod val="10000"/>
                  </a:schemeClr>
                </a:solidFill>
                <a:latin typeface="Corbel" panose="020B0503020204020204" pitchFamily="34" charset="0"/>
              </a:rPr>
              <a:t>Email: </a:t>
            </a:r>
            <a:r>
              <a:rPr lang="en-US" dirty="0">
                <a:solidFill>
                  <a:schemeClr val="bg2">
                    <a:lumMod val="10000"/>
                  </a:schemeClr>
                </a:solidFill>
                <a:latin typeface="Corbel" panose="020B0503020204020204" pitchFamily="34" charset="0"/>
                <a:hlinkClick r:id="rId3"/>
              </a:rPr>
              <a:t>koakepan@micrsoft.com</a:t>
            </a:r>
            <a:r>
              <a:rPr lang="en-US" dirty="0">
                <a:solidFill>
                  <a:schemeClr val="bg2">
                    <a:lumMod val="10000"/>
                  </a:schemeClr>
                </a:solidFill>
                <a:latin typeface="Corbel" panose="020B0503020204020204" pitchFamily="34" charset="0"/>
              </a:rPr>
              <a:t>  </a:t>
            </a:r>
            <a:endParaRPr lang="en-US" b="1" dirty="0">
              <a:solidFill>
                <a:schemeClr val="bg2">
                  <a:lumMod val="10000"/>
                </a:schemeClr>
              </a:solidFill>
              <a:latin typeface="Corbel" panose="020B0503020204020204" pitchFamily="34" charset="0"/>
            </a:endParaRPr>
          </a:p>
          <a:p>
            <a:pPr lvl="0">
              <a:lnSpc>
                <a:spcPct val="90000"/>
              </a:lnSpc>
              <a:spcAft>
                <a:spcPts val="600"/>
              </a:spcAft>
              <a:defRPr/>
            </a:pPr>
            <a:r>
              <a:rPr lang="en-US" b="1" dirty="0">
                <a:solidFill>
                  <a:schemeClr val="bg2">
                    <a:lumMod val="10000"/>
                  </a:schemeClr>
                </a:solidFill>
                <a:latin typeface="Corbel" panose="020B0503020204020204" pitchFamily="34" charset="0"/>
              </a:rPr>
              <a:t>LinkedIn</a:t>
            </a:r>
            <a:r>
              <a:rPr lang="en-US" sz="2400" b="1" dirty="0">
                <a:solidFill>
                  <a:schemeClr val="bg2">
                    <a:lumMod val="10000"/>
                  </a:schemeClr>
                </a:solidFill>
                <a:latin typeface="Corbel" panose="020B0503020204020204" pitchFamily="34" charset="0"/>
              </a:rPr>
              <a:t>: </a:t>
            </a:r>
            <a:r>
              <a:rPr lang="en-US" dirty="0">
                <a:solidFill>
                  <a:schemeClr val="bg2">
                    <a:lumMod val="10000"/>
                  </a:schemeClr>
                </a:solidFill>
                <a:latin typeface="Corbel" panose="020B0503020204020204" pitchFamily="34" charset="0"/>
                <a:hlinkClick r:id="rId4"/>
              </a:rPr>
              <a:t>https://www.linkedin.com/in/korkridakepan/</a:t>
            </a:r>
            <a:r>
              <a:rPr lang="en-US" dirty="0">
                <a:solidFill>
                  <a:schemeClr val="bg2">
                    <a:lumMod val="10000"/>
                  </a:schemeClr>
                </a:solidFill>
                <a:latin typeface="Corbel" panose="020B0503020204020204" pitchFamily="34" charset="0"/>
              </a:rPr>
              <a:t> </a:t>
            </a:r>
            <a:endParaRPr kumimoji="0" lang="en-US" sz="2400" i="0" u="none" strike="noStrike" kern="1200" cap="none" spc="0" normalizeH="0" baseline="0" noProof="0" dirty="0">
              <a:ln>
                <a:noFill/>
              </a:ln>
              <a:solidFill>
                <a:schemeClr val="bg2">
                  <a:lumMod val="10000"/>
                </a:schemeClr>
              </a:solidFill>
              <a:effectLst/>
              <a:uLnTx/>
              <a:uFillTx/>
              <a:latin typeface="Corbel" panose="020B0503020204020204" pitchFamily="34" charset="0"/>
            </a:endParaRPr>
          </a:p>
        </p:txBody>
      </p:sp>
      <p:graphicFrame>
        <p:nvGraphicFramePr>
          <p:cNvPr id="5" name="Diagram 4">
            <a:extLst>
              <a:ext uri="{FF2B5EF4-FFF2-40B4-BE49-F238E27FC236}">
                <a16:creationId xmlns:a16="http://schemas.microsoft.com/office/drawing/2014/main" id="{87D46961-49DA-4782-887C-22580305AA35}"/>
              </a:ext>
            </a:extLst>
          </p:cNvPr>
          <p:cNvGraphicFramePr/>
          <p:nvPr>
            <p:extLst>
              <p:ext uri="{D42A27DB-BD31-4B8C-83A1-F6EECF244321}">
                <p14:modId xmlns:p14="http://schemas.microsoft.com/office/powerpoint/2010/main" val="1793038937"/>
              </p:ext>
            </p:extLst>
          </p:nvPr>
        </p:nvGraphicFramePr>
        <p:xfrm>
          <a:off x="4683688" y="0"/>
          <a:ext cx="6410325" cy="657225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TextBox 5">
            <a:extLst>
              <a:ext uri="{FF2B5EF4-FFF2-40B4-BE49-F238E27FC236}">
                <a16:creationId xmlns:a16="http://schemas.microsoft.com/office/drawing/2014/main" id="{EA90BD26-6DB1-4239-ADCB-50F184AD584A}"/>
              </a:ext>
            </a:extLst>
          </p:cNvPr>
          <p:cNvSpPr txBox="1"/>
          <p:nvPr/>
        </p:nvSpPr>
        <p:spPr>
          <a:xfrm>
            <a:off x="7814859" y="2922475"/>
            <a:ext cx="4109555" cy="3539430"/>
          </a:xfrm>
          <a:prstGeom prst="rect">
            <a:avLst/>
          </a:prstGeom>
          <a:noFill/>
        </p:spPr>
        <p:txBody>
          <a:bodyPr wrap="square" rtlCol="0">
            <a:spAutoFit/>
          </a:bodyPr>
          <a:lstStyle/>
          <a:p>
            <a:r>
              <a:rPr lang="en-US" sz="1600" b="1" dirty="0">
                <a:solidFill>
                  <a:schemeClr val="bg2">
                    <a:lumMod val="10000"/>
                  </a:schemeClr>
                </a:solidFill>
                <a:latin typeface="Corbel" panose="020B0503020204020204" pitchFamily="34" charset="0"/>
              </a:rPr>
              <a:t>Kyle Akepanidtaworn</a:t>
            </a:r>
            <a:r>
              <a:rPr lang="en-US" sz="1600" dirty="0">
                <a:solidFill>
                  <a:schemeClr val="bg2">
                    <a:lumMod val="10000"/>
                  </a:schemeClr>
                </a:solidFill>
                <a:latin typeface="Corbel" panose="020B0503020204020204" pitchFamily="34" charset="0"/>
              </a:rPr>
              <a:t>, a global cloud solution architect with the mission to helping customers and </a:t>
            </a:r>
            <a:r>
              <a:rPr lang="en-US" sz="1600">
                <a:solidFill>
                  <a:schemeClr val="bg2">
                    <a:lumMod val="10000"/>
                  </a:schemeClr>
                </a:solidFill>
                <a:latin typeface="Corbel" panose="020B0503020204020204" pitchFamily="34" charset="0"/>
              </a:rPr>
              <a:t>partners with Digital </a:t>
            </a:r>
            <a:r>
              <a:rPr lang="en-US" sz="1600" dirty="0">
                <a:solidFill>
                  <a:schemeClr val="bg2">
                    <a:lumMod val="10000"/>
                  </a:schemeClr>
                </a:solidFill>
                <a:latin typeface="Corbel" panose="020B0503020204020204" pitchFamily="34" charset="0"/>
              </a:rPr>
              <a:t>Transformation, Business Intelligence, Azure, Open Source, and Data Intelligence &amp; Analytics etc. I am a trusted advisor to top Azure customers and help empower them to achieve more.</a:t>
            </a:r>
          </a:p>
          <a:p>
            <a:endParaRPr lang="en-US" sz="1600" dirty="0">
              <a:solidFill>
                <a:schemeClr val="bg2">
                  <a:lumMod val="10000"/>
                </a:schemeClr>
              </a:solidFill>
              <a:latin typeface="Corbel" panose="020B0503020204020204" pitchFamily="34" charset="0"/>
            </a:endParaRPr>
          </a:p>
          <a:p>
            <a:r>
              <a:rPr lang="en-US" sz="1600" b="1" dirty="0">
                <a:solidFill>
                  <a:schemeClr val="bg2">
                    <a:lumMod val="10000"/>
                  </a:schemeClr>
                </a:solidFill>
                <a:latin typeface="Corbel" panose="020B0503020204020204" pitchFamily="34" charset="0"/>
              </a:rPr>
              <a:t>Specialties</a:t>
            </a:r>
            <a:r>
              <a:rPr lang="en-US" sz="1600" dirty="0">
                <a:solidFill>
                  <a:schemeClr val="bg2">
                    <a:lumMod val="10000"/>
                  </a:schemeClr>
                </a:solidFill>
                <a:latin typeface="Corbel" panose="020B0503020204020204" pitchFamily="34" charset="0"/>
              </a:rPr>
              <a:t>: BI + AI, data warehousing, data science, big data, Hadoop, cloud, master data management, machine learning, solution architecture, ETL, data modeling, data migration, dashboarding.</a:t>
            </a:r>
          </a:p>
        </p:txBody>
      </p:sp>
    </p:spTree>
    <p:extLst>
      <p:ext uri="{BB962C8B-B14F-4D97-AF65-F5344CB8AC3E}">
        <p14:creationId xmlns:p14="http://schemas.microsoft.com/office/powerpoint/2010/main" val="32717397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chemeClr val="tx1"/>
                </a:solidFill>
              </a:rPr>
              <a:t>Live connectivity to your on-premises data</a:t>
            </a:r>
          </a:p>
          <a:p>
            <a:pPr marL="168275"/>
            <a:endParaRPr lang="en-US" sz="3600" b="1">
              <a:solidFill>
                <a:schemeClr val="tx1"/>
              </a:solidFill>
            </a:endParaRPr>
          </a:p>
          <a:p>
            <a:pPr marL="168275"/>
            <a:endParaRPr lang="en-IN" sz="3600">
              <a:solidFill>
                <a:schemeClr val="tx1"/>
              </a:solidFill>
            </a:endParaRP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2637201"/>
            <a:ext cx="2816907" cy="4220799"/>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0" y="657643"/>
            <a:ext cx="2787733" cy="874445"/>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130"/>
          <p:cNvSpPr/>
          <p:nvPr/>
        </p:nvSpPr>
        <p:spPr>
          <a:xfrm>
            <a:off x="2861164" y="1155073"/>
            <a:ext cx="4671446" cy="4062651"/>
          </a:xfrm>
          <a:prstGeom prst="rect">
            <a:avLst/>
          </a:prstGeom>
        </p:spPr>
        <p:txBody>
          <a:bodyPr wrap="square">
            <a:spAutoFit/>
          </a:bodyPr>
          <a:lstStyle/>
          <a:p>
            <a:pPr marL="342900" marR="0" lvl="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Connect live to your existing on-premises data sources:</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Analysis Services</a:t>
            </a:r>
            <a:br>
              <a:rPr lang="en-US" dirty="0">
                <a:latin typeface="+mj-lt"/>
                <a:ea typeface="Calibri" panose="020F0502020204030204" pitchFamily="34" charset="0"/>
                <a:cs typeface="Times New Roman" panose="02020603050405020304" pitchFamily="18" charset="0"/>
              </a:rPr>
            </a:br>
            <a:r>
              <a:rPr lang="en-US" dirty="0">
                <a:latin typeface="+mj-lt"/>
                <a:ea typeface="Calibri" panose="020F0502020204030204" pitchFamily="34" charset="0"/>
                <a:cs typeface="Times New Roman" panose="02020603050405020304" pitchFamily="18" charset="0"/>
              </a:rPr>
              <a:t>(tabular and multidimensional)</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SQL Server</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SAP HANA</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Oracle</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Teradata</a:t>
            </a:r>
          </a:p>
          <a:p>
            <a:pPr marL="342900" marR="0" lvl="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Requires On-Premises Data Gateway</a:t>
            </a:r>
          </a:p>
          <a:p>
            <a:pPr marL="342900" marR="0" lvl="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Role-based and row-level data security </a:t>
            </a:r>
          </a:p>
          <a:p>
            <a:pPr marL="342900" marR="0" lvl="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Data remains on-premise, only query is stored in Power BI</a:t>
            </a:r>
          </a:p>
        </p:txBody>
      </p:sp>
      <p:sp>
        <p:nvSpPr>
          <p:cNvPr id="132" name="Oval 131"/>
          <p:cNvSpPr/>
          <p:nvPr/>
        </p:nvSpPr>
        <p:spPr bwMode="auto">
          <a:xfrm>
            <a:off x="9280898" y="3571378"/>
            <a:ext cx="254504" cy="256539"/>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cxnSp>
        <p:nvCxnSpPr>
          <p:cNvPr id="136" name="Straight Connector 135"/>
          <p:cNvCxnSpPr/>
          <p:nvPr/>
        </p:nvCxnSpPr>
        <p:spPr>
          <a:xfrm>
            <a:off x="7767360" y="3608234"/>
            <a:ext cx="4069612" cy="6374"/>
          </a:xfrm>
          <a:prstGeom prst="line">
            <a:avLst/>
          </a:prstGeom>
          <a:noFill/>
          <a:ln w="15875" cap="flat" cmpd="sng" algn="ctr">
            <a:solidFill>
              <a:srgbClr val="505050"/>
            </a:solidFill>
            <a:prstDash val="dash"/>
            <a:headEnd type="none"/>
            <a:tailEnd type="none"/>
          </a:ln>
          <a:effectLst/>
        </p:spPr>
      </p:cxnSp>
      <p:grpSp>
        <p:nvGrpSpPr>
          <p:cNvPr id="137" name="Group 136"/>
          <p:cNvGrpSpPr/>
          <p:nvPr/>
        </p:nvGrpSpPr>
        <p:grpSpPr>
          <a:xfrm>
            <a:off x="10284096" y="4206663"/>
            <a:ext cx="1018940" cy="604490"/>
            <a:chOff x="2927465" y="5236638"/>
            <a:chExt cx="1470768" cy="865618"/>
          </a:xfrm>
        </p:grpSpPr>
        <p:sp>
          <p:nvSpPr>
            <p:cNvPr id="144" name="Freeform 143"/>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45" name="Freeform 144"/>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46" name="Freeform 145"/>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47" name="Freeform 146"/>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grpSp>
      <p:sp>
        <p:nvSpPr>
          <p:cNvPr id="138" name="Freeform 137"/>
          <p:cNvSpPr>
            <a:spLocks/>
          </p:cNvSpPr>
          <p:nvPr/>
        </p:nvSpPr>
        <p:spPr bwMode="auto">
          <a:xfrm>
            <a:off x="7767360" y="5040501"/>
            <a:ext cx="4104338" cy="67369"/>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39" name="Freeform 138"/>
          <p:cNvSpPr>
            <a:spLocks noChangeAspect="1"/>
          </p:cNvSpPr>
          <p:nvPr/>
        </p:nvSpPr>
        <p:spPr bwMode="auto">
          <a:xfrm>
            <a:off x="9614824" y="1321788"/>
            <a:ext cx="2253457" cy="1395791"/>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30" fontAlgn="base">
              <a:spcBef>
                <a:spcPct val="0"/>
              </a:spcBef>
              <a:spcAft>
                <a:spcPct val="0"/>
              </a:spcAft>
            </a:pPr>
            <a:endParaRPr lang="en-US" sz="2353">
              <a:solidFill>
                <a:srgbClr val="000000"/>
              </a:solidFill>
              <a:ea typeface="MS PGothic" charset="0"/>
              <a:cs typeface="MS PGothic" charset="0"/>
            </a:endParaRPr>
          </a:p>
        </p:txBody>
      </p:sp>
      <p:sp>
        <p:nvSpPr>
          <p:cNvPr id="140" name="Freeform 139"/>
          <p:cNvSpPr>
            <a:spLocks noChangeAspect="1"/>
          </p:cNvSpPr>
          <p:nvPr/>
        </p:nvSpPr>
        <p:spPr bwMode="auto">
          <a:xfrm>
            <a:off x="9847781" y="1919285"/>
            <a:ext cx="2165642" cy="987892"/>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41" name="TextBox 140"/>
          <p:cNvSpPr txBox="1"/>
          <p:nvPr/>
        </p:nvSpPr>
        <p:spPr>
          <a:xfrm>
            <a:off x="6105643" y="1821349"/>
            <a:ext cx="1617816" cy="554151"/>
          </a:xfrm>
          <a:prstGeom prst="rect">
            <a:avLst/>
          </a:prstGeom>
          <a:noFill/>
        </p:spPr>
        <p:txBody>
          <a:bodyPr wrap="square" lIns="179208" tIns="143366" rIns="179208" bIns="143366" rtlCol="0">
            <a:noAutofit/>
          </a:bodyPr>
          <a:lstStyle/>
          <a:p>
            <a:pPr marL="335951" indent="-335951" defTabSz="912979" fontAlgn="base">
              <a:lnSpc>
                <a:spcPct val="90000"/>
              </a:lnSpc>
              <a:spcBef>
                <a:spcPct val="0"/>
              </a:spcBef>
              <a:spcAft>
                <a:spcPts val="588"/>
              </a:spcAft>
              <a:buFont typeface="Wingdings 3" panose="05040102010807070707" pitchFamily="18" charset="2"/>
              <a:buChar char="Æ"/>
            </a:pPr>
            <a:endParaRPr lang="en-US" sz="2353" err="1">
              <a:gradFill>
                <a:gsLst>
                  <a:gs pos="2917">
                    <a:srgbClr val="000000"/>
                  </a:gs>
                  <a:gs pos="30000">
                    <a:srgbClr val="000000"/>
                  </a:gs>
                </a:gsLst>
                <a:lin ang="5400000" scaled="0"/>
              </a:gradFill>
              <a:ea typeface="MS PGothic" charset="0"/>
            </a:endParaRPr>
          </a:p>
        </p:txBody>
      </p:sp>
      <p:sp>
        <p:nvSpPr>
          <p:cNvPr id="142" name="TextBox 141"/>
          <p:cNvSpPr txBox="1"/>
          <p:nvPr/>
        </p:nvSpPr>
        <p:spPr>
          <a:xfrm>
            <a:off x="10554329" y="3398468"/>
            <a:ext cx="1220597" cy="136232"/>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Cloud</a:t>
            </a:r>
          </a:p>
        </p:txBody>
      </p:sp>
      <p:sp>
        <p:nvSpPr>
          <p:cNvPr id="143" name="TextBox 142"/>
          <p:cNvSpPr txBox="1"/>
          <p:nvPr/>
        </p:nvSpPr>
        <p:spPr>
          <a:xfrm>
            <a:off x="10407381" y="3711503"/>
            <a:ext cx="1220595" cy="136232"/>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On-premises</a:t>
            </a:r>
          </a:p>
        </p:txBody>
      </p:sp>
      <p:sp>
        <p:nvSpPr>
          <p:cNvPr id="134" name="TextBox 133"/>
          <p:cNvSpPr txBox="1"/>
          <p:nvPr/>
        </p:nvSpPr>
        <p:spPr>
          <a:xfrm>
            <a:off x="8048312" y="3233838"/>
            <a:ext cx="1702998" cy="725505"/>
          </a:xfrm>
          <a:prstGeom prst="rect">
            <a:avLst/>
          </a:prstGeom>
          <a:solidFill>
            <a:schemeClr val="bg1"/>
          </a:solidFill>
          <a:ln>
            <a:solidFill>
              <a:schemeClr val="accent3">
                <a:lumMod val="20000"/>
                <a:lumOff val="80000"/>
              </a:schemeClr>
            </a:solidFill>
          </a:ln>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Scheduled Refresh</a:t>
            </a:r>
          </a:p>
          <a:p>
            <a:pPr algn="ctr" defTabSz="912979" fontAlgn="base">
              <a:lnSpc>
                <a:spcPct val="90000"/>
              </a:lnSpc>
              <a:spcBef>
                <a:spcPct val="0"/>
              </a:spcBef>
              <a:spcAft>
                <a:spcPts val="588"/>
              </a:spcAft>
            </a:pPr>
            <a:endPar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endParaRPr>
          </a:p>
          <a:p>
            <a:pPr algn="ctr" defTabSz="912979" fontAlgn="base">
              <a:lnSpc>
                <a:spcPct val="90000"/>
              </a:lnSpc>
              <a:spcBef>
                <a:spcPct val="0"/>
              </a:spcBef>
              <a:spcAft>
                <a:spcPts val="588"/>
              </a:spcAft>
            </a:pPr>
            <a:r>
              <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Manage &amp; Monitor</a:t>
            </a:r>
          </a:p>
        </p:txBody>
      </p:sp>
      <p:sp>
        <p:nvSpPr>
          <p:cNvPr id="135" name="Freeform 5"/>
          <p:cNvSpPr>
            <a:spLocks noEditPoints="1"/>
          </p:cNvSpPr>
          <p:nvPr/>
        </p:nvSpPr>
        <p:spPr bwMode="auto">
          <a:xfrm>
            <a:off x="8748040" y="3452519"/>
            <a:ext cx="268565" cy="270816"/>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sp>
        <p:nvSpPr>
          <p:cNvPr id="148" name="Freeform 5"/>
          <p:cNvSpPr>
            <a:spLocks noEditPoints="1"/>
          </p:cNvSpPr>
          <p:nvPr/>
        </p:nvSpPr>
        <p:spPr bwMode="auto">
          <a:xfrm>
            <a:off x="8343269"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149" name="TextBox 148"/>
          <p:cNvSpPr txBox="1"/>
          <p:nvPr/>
        </p:nvSpPr>
        <p:spPr>
          <a:xfrm>
            <a:off x="8100154"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50" name="Freeform 5"/>
          <p:cNvSpPr>
            <a:spLocks noEditPoints="1"/>
          </p:cNvSpPr>
          <p:nvPr/>
        </p:nvSpPr>
        <p:spPr bwMode="auto">
          <a:xfrm>
            <a:off x="8990783"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151" name="TextBox 150"/>
          <p:cNvSpPr txBox="1"/>
          <p:nvPr/>
        </p:nvSpPr>
        <p:spPr>
          <a:xfrm>
            <a:off x="8751047"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52" name="TextBox 151"/>
          <p:cNvSpPr txBox="1"/>
          <p:nvPr/>
        </p:nvSpPr>
        <p:spPr>
          <a:xfrm>
            <a:off x="7367925" y="4023769"/>
            <a:ext cx="1158082" cy="583792"/>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a:gradFill>
                  <a:gsLst>
                    <a:gs pos="2917">
                      <a:srgbClr val="000000"/>
                    </a:gs>
                    <a:gs pos="30000">
                      <a:srgbClr val="000000"/>
                    </a:gs>
                  </a:gsLst>
                  <a:lin ang="5400000" scaled="0"/>
                </a:gradFill>
              </a:rPr>
              <a:t>On-Premises Data Gateway</a:t>
            </a:r>
          </a:p>
        </p:txBody>
      </p:sp>
      <p:sp>
        <p:nvSpPr>
          <p:cNvPr id="153" name="TextBox 152"/>
          <p:cNvSpPr txBox="1"/>
          <p:nvPr/>
        </p:nvSpPr>
        <p:spPr>
          <a:xfrm>
            <a:off x="10316566" y="1497494"/>
            <a:ext cx="1182661" cy="447287"/>
          </a:xfrm>
          <a:prstGeom prst="rect">
            <a:avLst/>
          </a:prstGeom>
          <a:noFill/>
          <a:ln>
            <a:noFill/>
          </a:ln>
        </p:spPr>
        <p:txBody>
          <a:bodyPr wrap="square" lIns="179259" tIns="143407" rIns="179259" bIns="143407" rtlCol="0" anchor="ctr">
            <a:noAutofit/>
          </a:bodyPr>
          <a:lstStyle/>
          <a:p>
            <a:pPr algn="ctr" defTabSz="914192">
              <a:lnSpc>
                <a:spcPct val="90000"/>
              </a:lnSpc>
              <a:spcAft>
                <a:spcPts val="588"/>
              </a:spcAft>
              <a:defRPr/>
            </a:pPr>
            <a:r>
              <a:rPr lang="en-US" sz="1200" kern="0" err="1">
                <a:gradFill>
                  <a:gsLst>
                    <a:gs pos="2917">
                      <a:srgbClr val="000000"/>
                    </a:gs>
                    <a:gs pos="30000">
                      <a:srgbClr val="000000"/>
                    </a:gs>
                  </a:gsLst>
                  <a:lin ang="5400000" scaled="0"/>
                </a:gradFill>
              </a:rPr>
              <a:t>PowerApps</a:t>
            </a:r>
            <a:endParaRPr lang="en-US" sz="1200" kern="0">
              <a:gradFill>
                <a:gsLst>
                  <a:gs pos="2917">
                    <a:srgbClr val="000000"/>
                  </a:gs>
                  <a:gs pos="30000">
                    <a:srgbClr val="000000"/>
                  </a:gs>
                </a:gsLst>
                <a:lin ang="5400000" scaled="0"/>
              </a:gradFill>
            </a:endParaRPr>
          </a:p>
        </p:txBody>
      </p:sp>
      <p:sp>
        <p:nvSpPr>
          <p:cNvPr id="154" name="TextBox 153"/>
          <p:cNvSpPr txBox="1"/>
          <p:nvPr/>
        </p:nvSpPr>
        <p:spPr>
          <a:xfrm>
            <a:off x="10087420" y="2017056"/>
            <a:ext cx="1371600" cy="431298"/>
          </a:xfrm>
          <a:prstGeom prst="rect">
            <a:avLst/>
          </a:prstGeom>
          <a:noFill/>
          <a:ln>
            <a:noFill/>
          </a:ln>
        </p:spPr>
        <p:txBody>
          <a:bodyPr wrap="square" lIns="179259" tIns="143407" rIns="179259" bIns="143407" rtlCol="0" anchor="ctr">
            <a:noAutofit/>
          </a:bodyPr>
          <a:lstStyle/>
          <a:p>
            <a:pPr algn="ctr" defTabSz="914192">
              <a:lnSpc>
                <a:spcPct val="90000"/>
              </a:lnSpc>
              <a:spcAft>
                <a:spcPts val="588"/>
              </a:spcAft>
              <a:defRPr/>
            </a:pPr>
            <a:r>
              <a:rPr lang="en-US" sz="1200" kern="0">
                <a:gradFill>
                  <a:gsLst>
                    <a:gs pos="2917">
                      <a:srgbClr val="000000"/>
                    </a:gs>
                    <a:gs pos="30000">
                      <a:srgbClr val="000000"/>
                    </a:gs>
                  </a:gsLst>
                  <a:lin ang="5400000" scaled="0"/>
                </a:gradFill>
              </a:rPr>
              <a:t>Microsoft Flow</a:t>
            </a:r>
          </a:p>
        </p:txBody>
      </p:sp>
      <p:sp>
        <p:nvSpPr>
          <p:cNvPr id="155" name="TextBox 154"/>
          <p:cNvSpPr txBox="1"/>
          <p:nvPr/>
        </p:nvSpPr>
        <p:spPr>
          <a:xfrm>
            <a:off x="10450136" y="2527905"/>
            <a:ext cx="1636998" cy="404347"/>
          </a:xfrm>
          <a:prstGeom prst="rect">
            <a:avLst/>
          </a:prstGeom>
          <a:noFill/>
          <a:ln>
            <a:noFill/>
          </a:ln>
        </p:spPr>
        <p:txBody>
          <a:bodyPr wrap="square" lIns="179259" tIns="143407" rIns="179259" bIns="143407" rtlCol="0" anchor="ctr">
            <a:noAutofit/>
          </a:bodyPr>
          <a:lstStyle/>
          <a:p>
            <a:pPr algn="ctr" defTabSz="914192">
              <a:lnSpc>
                <a:spcPct val="90000"/>
              </a:lnSpc>
              <a:spcAft>
                <a:spcPts val="588"/>
              </a:spcAft>
              <a:defRPr/>
            </a:pPr>
            <a:r>
              <a:rPr lang="en-US" sz="1200" kern="0">
                <a:gradFill>
                  <a:gsLst>
                    <a:gs pos="2917">
                      <a:srgbClr val="000000"/>
                    </a:gs>
                    <a:gs pos="30000">
                      <a:srgbClr val="000000"/>
                    </a:gs>
                  </a:gsLst>
                  <a:lin ang="5400000" scaled="0"/>
                </a:gradFill>
              </a:rPr>
              <a:t>Azure Logic Apps</a:t>
            </a:r>
          </a:p>
        </p:txBody>
      </p:sp>
      <p:pic>
        <p:nvPicPr>
          <p:cNvPr id="156" name="Picture 155"/>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7796903" y="1801110"/>
            <a:ext cx="2103121" cy="1192464"/>
          </a:xfrm>
          <a:prstGeom prst="rect">
            <a:avLst/>
          </a:prstGeom>
          <a:ln>
            <a:noFill/>
          </a:ln>
          <a:effectLst>
            <a:outerShdw blurRad="292100" dist="139700" dir="2700000" algn="tl" rotWithShape="0">
              <a:srgbClr val="333333">
                <a:alpha val="65000"/>
              </a:srgbClr>
            </a:outerShdw>
          </a:effectLst>
        </p:spPr>
      </p:pic>
      <p:sp>
        <p:nvSpPr>
          <p:cNvPr id="157" name="TextBox 156"/>
          <p:cNvSpPr txBox="1"/>
          <p:nvPr/>
        </p:nvSpPr>
        <p:spPr>
          <a:xfrm>
            <a:off x="7655156" y="1143372"/>
            <a:ext cx="1376225" cy="634358"/>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a:gradFill>
                  <a:gsLst>
                    <a:gs pos="2917">
                      <a:srgbClr val="000000"/>
                    </a:gs>
                    <a:gs pos="30000">
                      <a:srgbClr val="000000"/>
                    </a:gs>
                  </a:gsLst>
                  <a:lin ang="5400000" scaled="0"/>
                </a:gradFill>
              </a:rPr>
              <a:t>Live Power BI Dashboards and Reports</a:t>
            </a:r>
          </a:p>
        </p:txBody>
      </p:sp>
    </p:spTree>
    <p:extLst>
      <p:ext uri="{BB962C8B-B14F-4D97-AF65-F5344CB8AC3E}">
        <p14:creationId xmlns:p14="http://schemas.microsoft.com/office/powerpoint/2010/main" val="9007164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chemeClr val="tx1"/>
                </a:solidFill>
              </a:rPr>
              <a:t>Connect to data from your files</a:t>
            </a:r>
          </a:p>
          <a:p>
            <a:pPr marL="168275"/>
            <a:endParaRPr lang="en-US" sz="3600" b="1">
              <a:solidFill>
                <a:schemeClr val="tx1"/>
              </a:solidFill>
            </a:endParaRPr>
          </a:p>
          <a:p>
            <a:pPr marL="168275"/>
            <a:endParaRPr lang="en-IN" sz="3600">
              <a:solidFill>
                <a:schemeClr val="tx1"/>
              </a:solidFill>
            </a:endParaRP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2637201"/>
            <a:ext cx="2816907" cy="4220799"/>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0" y="657643"/>
            <a:ext cx="2787733" cy="874445"/>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130"/>
          <p:cNvSpPr/>
          <p:nvPr/>
        </p:nvSpPr>
        <p:spPr>
          <a:xfrm>
            <a:off x="2906883" y="1184902"/>
            <a:ext cx="4527587" cy="5386090"/>
          </a:xfrm>
          <a:prstGeom prst="rect">
            <a:avLst/>
          </a:prstGeom>
        </p:spPr>
        <p:txBody>
          <a:bodyPr wrap="square">
            <a:spAutoFit/>
          </a:bodyPr>
          <a:lstStyle/>
          <a:p>
            <a:pPr marL="342900" lvl="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Import data into Power BI from files</a:t>
            </a:r>
          </a:p>
          <a:p>
            <a:pPr marL="692150" lvl="1" indent="-349250">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Microsoft Excel (</a:t>
            </a:r>
            <a:r>
              <a:rPr lang="en-US" sz="1600" dirty="0" err="1">
                <a:latin typeface="+mj-lt"/>
                <a:ea typeface="Calibri" panose="020F0502020204030204" pitchFamily="34" charset="0"/>
                <a:cs typeface="Times New Roman" panose="02020603050405020304" pitchFamily="18" charset="0"/>
              </a:rPr>
              <a:t>xlxs</a:t>
            </a:r>
            <a:r>
              <a:rPr lang="en-US" sz="1600" dirty="0">
                <a:latin typeface="+mj-lt"/>
                <a:ea typeface="Calibri" panose="020F0502020204030204" pitchFamily="34" charset="0"/>
                <a:cs typeface="Times New Roman" panose="02020603050405020304" pitchFamily="18" charset="0"/>
              </a:rPr>
              <a:t> or </a:t>
            </a:r>
            <a:r>
              <a:rPr lang="en-US" sz="1600" dirty="0" err="1">
                <a:latin typeface="+mj-lt"/>
                <a:ea typeface="Calibri" panose="020F0502020204030204" pitchFamily="34" charset="0"/>
                <a:cs typeface="Times New Roman" panose="02020603050405020304" pitchFamily="18" charset="0"/>
              </a:rPr>
              <a:t>xlsm</a:t>
            </a:r>
            <a:r>
              <a:rPr lang="en-US" sz="1600" dirty="0">
                <a:latin typeface="+mj-lt"/>
                <a:ea typeface="Calibri" panose="020F0502020204030204" pitchFamily="34" charset="0"/>
                <a:cs typeface="Times New Roman" panose="02020603050405020304" pitchFamily="18" charset="0"/>
              </a:rPr>
              <a:t>)</a:t>
            </a:r>
          </a:p>
          <a:p>
            <a:pPr marL="692150" lvl="1" indent="-349250">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Power BI Desktop (</a:t>
            </a:r>
            <a:r>
              <a:rPr lang="en-US" sz="1600" dirty="0" err="1">
                <a:latin typeface="+mj-lt"/>
                <a:ea typeface="Calibri" panose="020F0502020204030204" pitchFamily="34" charset="0"/>
                <a:cs typeface="Times New Roman" panose="02020603050405020304" pitchFamily="18" charset="0"/>
              </a:rPr>
              <a:t>pbix</a:t>
            </a:r>
            <a:r>
              <a:rPr lang="en-US" sz="1600" dirty="0">
                <a:latin typeface="+mj-lt"/>
                <a:ea typeface="Calibri" panose="020F0502020204030204" pitchFamily="34" charset="0"/>
                <a:cs typeface="Times New Roman" panose="02020603050405020304" pitchFamily="18" charset="0"/>
              </a:rPr>
              <a:t>)</a:t>
            </a:r>
          </a:p>
          <a:p>
            <a:pPr marL="692150" lvl="1" indent="-349250">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Comma Separated Value (csv)</a:t>
            </a:r>
          </a:p>
          <a:p>
            <a:pPr marL="34290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Files can be located on</a:t>
            </a:r>
          </a:p>
          <a:p>
            <a:pPr marL="692150" lvl="1" indent="-349250">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Local machine</a:t>
            </a:r>
          </a:p>
          <a:p>
            <a:pPr marL="692150" lvl="1" indent="-349250">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OneDrive Business or Personal</a:t>
            </a:r>
          </a:p>
          <a:p>
            <a:pPr marL="692150" lvl="1" indent="-349250">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SharePoint Team Sites</a:t>
            </a:r>
          </a:p>
          <a:p>
            <a:pPr marL="34290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Two ways to use Excel files</a:t>
            </a:r>
          </a:p>
          <a:p>
            <a:pPr marL="692150" lvl="1" indent="-349250">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Import into Power BI</a:t>
            </a:r>
          </a:p>
          <a:p>
            <a:pPr marL="692150" lvl="1" indent="-349250">
              <a:buFont typeface="Courier New" panose="02070309020205020404" pitchFamily="49" charset="0"/>
              <a:buChar char="o"/>
            </a:pPr>
            <a:r>
              <a:rPr lang="en-US" sz="1600" dirty="0">
                <a:latin typeface="+mj-lt"/>
                <a:ea typeface="Calibri" panose="020F0502020204030204" pitchFamily="34" charset="0"/>
                <a:cs typeface="Times New Roman" panose="02020603050405020304" pitchFamily="18" charset="0"/>
              </a:rPr>
              <a:t>Connect (upload), manage and view in Power BI</a:t>
            </a:r>
          </a:p>
          <a:p>
            <a:pPr marL="34290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Any changes to a file in OneDrive or SharePoint are synced automatically (hourly)</a:t>
            </a:r>
          </a:p>
          <a:p>
            <a:pPr marL="342900" indent="-342900" fontAlgn="base">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Data and reports from Power BI Desktop files</a:t>
            </a:r>
          </a:p>
        </p:txBody>
      </p:sp>
      <p:pic>
        <p:nvPicPr>
          <p:cNvPr id="49" name="Picture 48"/>
          <p:cNvPicPr>
            <a:picLocks noChangeAspect="1"/>
          </p:cNvPicPr>
          <p:nvPr/>
        </p:nvPicPr>
        <p:blipFill>
          <a:blip r:embed="rId5"/>
          <a:stretch>
            <a:fillRect/>
          </a:stretch>
        </p:blipFill>
        <p:spPr>
          <a:xfrm>
            <a:off x="7669906" y="1475232"/>
            <a:ext cx="4114800" cy="1040524"/>
          </a:xfrm>
          <a:prstGeom prst="rect">
            <a:avLst/>
          </a:prstGeom>
        </p:spPr>
      </p:pic>
    </p:spTree>
    <p:extLst>
      <p:ext uri="{BB962C8B-B14F-4D97-AF65-F5344CB8AC3E}">
        <p14:creationId xmlns:p14="http://schemas.microsoft.com/office/powerpoint/2010/main" val="42239281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chemeClr val="tx1"/>
                </a:solidFill>
              </a:rPr>
              <a:t>Keep your data where it is and connect securely</a:t>
            </a:r>
          </a:p>
          <a:p>
            <a:pPr marL="168275"/>
            <a:endParaRPr lang="en-US" sz="3600">
              <a:solidFill>
                <a:schemeClr val="tx1"/>
              </a:solidFill>
            </a:endParaRPr>
          </a:p>
          <a:p>
            <a:pPr marL="168275"/>
            <a:endParaRPr lang="en-US" sz="3600" b="1">
              <a:solidFill>
                <a:schemeClr val="tx1"/>
              </a:solidFill>
            </a:endParaRPr>
          </a:p>
          <a:p>
            <a:pPr marL="168275"/>
            <a:endParaRPr lang="en-IN" sz="3600">
              <a:solidFill>
                <a:schemeClr val="tx1"/>
              </a:solidFill>
            </a:endParaRPr>
          </a:p>
        </p:txBody>
      </p:sp>
      <p:sp>
        <p:nvSpPr>
          <p:cNvPr id="49" name="Rectangle 48"/>
          <p:cNvSpPr/>
          <p:nvPr/>
        </p:nvSpPr>
        <p:spPr>
          <a:xfrm>
            <a:off x="2906883" y="1144531"/>
            <a:ext cx="4183425" cy="4909036"/>
          </a:xfrm>
          <a:prstGeom prst="rect">
            <a:avLst/>
          </a:prstGeom>
        </p:spPr>
        <p:txBody>
          <a:bodyPr wrap="square" anchor="t">
            <a:spAutoFit/>
          </a:bodyPr>
          <a:lstStyle/>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a:rPr>
              <a:t>Faster time to insight with a hybrid BI solution </a:t>
            </a:r>
            <a:endParaRPr lang="en-US" sz="2000">
              <a:latin typeface="+mj-lt"/>
              <a:ea typeface="Calibri" panose="020F0502020204030204" pitchFamily="34" charset="0"/>
              <a:cs typeface="Times New Roman" panose="02020603050405020304" pitchFamily="18" charset="0"/>
            </a:endParaRP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a:rPr>
              <a:t>Cloud data sources </a:t>
            </a:r>
            <a:endParaRPr lang="en-US" sz="2000" dirty="0">
              <a:latin typeface="+mj-lt"/>
              <a:ea typeface="Calibri" panose="020F0502020204030204" pitchFamily="34" charset="0"/>
              <a:cs typeface="Times New Roman" panose="02020603050405020304" pitchFamily="18" charset="0"/>
            </a:endParaRPr>
          </a:p>
          <a:p>
            <a:pPr marL="800100" lvl="1" indent="-342900">
              <a:buFont typeface="Courier New" panose="02070309020205020404" pitchFamily="49" charset="0"/>
              <a:buChar char="o"/>
            </a:pPr>
            <a:r>
              <a:rPr lang="en-US" sz="1600" dirty="0">
                <a:latin typeface="+mj-lt"/>
                <a:ea typeface="Calibri" panose="020F0502020204030204" pitchFamily="34" charset="0"/>
                <a:cs typeface="Times New Roman"/>
              </a:rPr>
              <a:t>SaaS sources </a:t>
            </a:r>
            <a:endParaRPr lang="en-US" sz="1600" dirty="0">
              <a:latin typeface="+mj-lt"/>
              <a:ea typeface="Calibri" panose="020F0502020204030204" pitchFamily="34" charset="0"/>
              <a:cs typeface="Times New Roman" panose="02020603050405020304" pitchFamily="18" charset="0"/>
            </a:endParaRPr>
          </a:p>
          <a:p>
            <a:pPr marL="800100" lvl="1" indent="-342900">
              <a:buFont typeface="Courier New" panose="02070309020205020404" pitchFamily="49" charset="0"/>
              <a:buChar char="o"/>
            </a:pPr>
            <a:r>
              <a:rPr lang="en-US" sz="1600" dirty="0">
                <a:latin typeface="+mj-lt"/>
                <a:ea typeface="Calibri" panose="020F0502020204030204" pitchFamily="34" charset="0"/>
                <a:cs typeface="Times New Roman"/>
              </a:rPr>
              <a:t>Azure – SQL, DW, Blob, Table, HDInsight, Marketplace</a:t>
            </a:r>
          </a:p>
          <a:p>
            <a:pPr marL="800100" lvl="1" indent="-342900">
              <a:buFont typeface="Courier New" panose="02070309020205020404" pitchFamily="49" charset="0"/>
              <a:buChar char="o"/>
            </a:pPr>
            <a:r>
              <a:rPr lang="en-US" sz="1600" dirty="0">
                <a:latin typeface="+mj-lt"/>
                <a:ea typeface="Calibri" panose="020F0502020204030204" pitchFamily="34" charset="0"/>
                <a:cs typeface="Times New Roman"/>
              </a:rPr>
              <a:t>SharePoint, web sources</a:t>
            </a:r>
          </a:p>
          <a:p>
            <a:pPr marL="800100" lvl="1" indent="-342900">
              <a:buFont typeface="Courier New" panose="02070309020205020404" pitchFamily="49" charset="0"/>
              <a:buChar char="o"/>
            </a:pPr>
            <a:r>
              <a:rPr lang="en-US" sz="1600" dirty="0">
                <a:latin typeface="+mj-lt"/>
                <a:ea typeface="Calibri" panose="020F0502020204030204" pitchFamily="34" charset="0"/>
                <a:cs typeface="Times New Roman"/>
              </a:rPr>
              <a:t>OData (SAP HANA)</a:t>
            </a:r>
            <a:endParaRPr lang="en-US" dirty="0"/>
          </a:p>
          <a:p>
            <a:pPr marL="800100" lvl="1" indent="-342900">
              <a:buFont typeface="Courier New" panose="02070309020205020404" pitchFamily="49" charset="0"/>
              <a:buChar char="o"/>
            </a:pPr>
            <a:r>
              <a:rPr lang="en-US" sz="1600" dirty="0">
                <a:latin typeface="+mj-lt"/>
                <a:ea typeface="Calibri" panose="020F0502020204030204" pitchFamily="34" charset="0"/>
                <a:cs typeface="Times New Roman"/>
              </a:rPr>
              <a:t>OneDrive</a:t>
            </a: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a:rPr>
              <a:t>On-premise data sources</a:t>
            </a:r>
          </a:p>
          <a:p>
            <a:pPr marL="800100" lvl="1" indent="-342900">
              <a:buFont typeface="Courier New" panose="02070309020205020404" pitchFamily="49" charset="0"/>
              <a:buChar char="o"/>
            </a:pPr>
            <a:r>
              <a:rPr lang="en-US" sz="1600" dirty="0">
                <a:latin typeface="+mj-lt"/>
                <a:ea typeface="Calibri" panose="020F0502020204030204" pitchFamily="34" charset="0"/>
                <a:cs typeface="Times New Roman"/>
              </a:rPr>
              <a:t>SQL Server, Teradata, Oracle, DB2, MySQL, PostgreSQL, Sybase, SAP HANA, Access, Custom SQL, Custom ODBC Drivers</a:t>
            </a:r>
          </a:p>
          <a:p>
            <a:pPr marL="800100" lvl="1" indent="-342900">
              <a:buFont typeface="Courier New" panose="02070309020205020404" pitchFamily="49" charset="0"/>
              <a:buChar char="o"/>
            </a:pPr>
            <a:r>
              <a:rPr lang="en-US" sz="1600" dirty="0">
                <a:latin typeface="+mj-lt"/>
                <a:ea typeface="Calibri" panose="020F0502020204030204" pitchFamily="34" charset="0"/>
                <a:cs typeface="Times New Roman"/>
              </a:rPr>
              <a:t>SQL Server Analysis Services (tabular and multi-dimensional)</a:t>
            </a:r>
          </a:p>
          <a:p>
            <a:pPr marL="800100" lvl="1" indent="-342900">
              <a:buFont typeface="Courier New" panose="02070309020205020404" pitchFamily="49" charset="0"/>
              <a:buChar char="o"/>
            </a:pPr>
            <a:r>
              <a:rPr lang="en-US" sz="1600" dirty="0">
                <a:latin typeface="+mj-lt"/>
                <a:ea typeface="Calibri" panose="020F0502020204030204" pitchFamily="34" charset="0"/>
                <a:cs typeface="Times New Roman"/>
              </a:rPr>
              <a:t>Files/folder, SharePoint on-premises</a:t>
            </a: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2816164" y="6553101"/>
            <a:ext cx="5504581" cy="275365"/>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8352466" y="6552805"/>
            <a:ext cx="3831442" cy="307167"/>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7" name="Group 66"/>
          <p:cNvGrpSpPr>
            <a:grpSpLocks noChangeAspect="1"/>
          </p:cNvGrpSpPr>
          <p:nvPr/>
        </p:nvGrpSpPr>
        <p:grpSpPr>
          <a:xfrm>
            <a:off x="6322580" y="1250993"/>
            <a:ext cx="5669289" cy="3855845"/>
            <a:chOff x="6071720" y="1159360"/>
            <a:chExt cx="6017236" cy="4060036"/>
          </a:xfrm>
        </p:grpSpPr>
        <p:sp>
          <p:nvSpPr>
            <p:cNvPr id="72" name="Oval 71"/>
            <p:cNvSpPr/>
            <p:nvPr/>
          </p:nvSpPr>
          <p:spPr bwMode="auto">
            <a:xfrm>
              <a:off x="9441855" y="3602627"/>
              <a:ext cx="270124" cy="2701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grpSp>
          <p:nvGrpSpPr>
            <p:cNvPr id="75" name="Group 74"/>
            <p:cNvGrpSpPr>
              <a:grpSpLocks noChangeAspect="1"/>
            </p:cNvGrpSpPr>
            <p:nvPr/>
          </p:nvGrpSpPr>
          <p:grpSpPr>
            <a:xfrm>
              <a:off x="6071720" y="1159360"/>
              <a:ext cx="6017236" cy="4060036"/>
              <a:chOff x="4840804" y="372616"/>
              <a:chExt cx="8179730" cy="5520531"/>
            </a:xfrm>
          </p:grpSpPr>
          <p:cxnSp>
            <p:nvCxnSpPr>
              <p:cNvPr id="78" name="Straight Connector 77"/>
              <p:cNvCxnSpPr/>
              <p:nvPr/>
            </p:nvCxnSpPr>
            <p:spPr>
              <a:xfrm flipV="1">
                <a:off x="6238643" y="3874777"/>
                <a:ext cx="6332694" cy="2370"/>
              </a:xfrm>
              <a:prstGeom prst="line">
                <a:avLst/>
              </a:prstGeom>
              <a:noFill/>
              <a:ln w="15875" cap="flat" cmpd="sng" algn="ctr">
                <a:solidFill>
                  <a:srgbClr val="505050"/>
                </a:solidFill>
                <a:prstDash val="dash"/>
                <a:headEnd type="none"/>
                <a:tailEnd type="none"/>
              </a:ln>
              <a:effectLst/>
            </p:spPr>
          </p:cxnSp>
          <p:sp>
            <p:nvSpPr>
              <p:cNvPr id="79" name="TextBox 78"/>
              <p:cNvSpPr txBox="1"/>
              <p:nvPr/>
            </p:nvSpPr>
            <p:spPr>
              <a:xfrm>
                <a:off x="5933049" y="4844552"/>
                <a:ext cx="1796562" cy="845781"/>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grpSp>
            <p:nvGrpSpPr>
              <p:cNvPr id="80" name="Group 79"/>
              <p:cNvGrpSpPr/>
              <p:nvPr/>
            </p:nvGrpSpPr>
            <p:grpSpPr>
              <a:xfrm>
                <a:off x="10869544" y="4603185"/>
                <a:ext cx="1470144" cy="865250"/>
                <a:chOff x="2927465" y="5236638"/>
                <a:chExt cx="1470768" cy="865618"/>
              </a:xfrm>
            </p:grpSpPr>
            <p:sp>
              <p:nvSpPr>
                <p:cNvPr id="93" name="Freeform 92"/>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94" name="Freeform 93"/>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95" name="Freeform 94"/>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96" name="Freeform 95"/>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grpSp>
          <p:sp>
            <p:nvSpPr>
              <p:cNvPr id="81" name="Freeform 80"/>
              <p:cNvSpPr>
                <a:spLocks/>
              </p:cNvSpPr>
              <p:nvPr/>
            </p:nvSpPr>
            <p:spPr bwMode="auto">
              <a:xfrm>
                <a:off x="6013890" y="5783312"/>
                <a:ext cx="6857026" cy="109835"/>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82" name="Freeform 81"/>
              <p:cNvSpPr>
                <a:spLocks noChangeAspect="1"/>
              </p:cNvSpPr>
              <p:nvPr/>
            </p:nvSpPr>
            <p:spPr bwMode="auto">
              <a:xfrm>
                <a:off x="9116346" y="372616"/>
                <a:ext cx="3562140" cy="2188888"/>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30" fontAlgn="base">
                  <a:spcBef>
                    <a:spcPct val="0"/>
                  </a:spcBef>
                  <a:spcAft>
                    <a:spcPct val="0"/>
                  </a:spcAft>
                </a:pPr>
                <a:endParaRPr lang="en-US" sz="2353">
                  <a:solidFill>
                    <a:srgbClr val="000000"/>
                  </a:solidFill>
                  <a:ea typeface="MS PGothic" charset="0"/>
                  <a:cs typeface="MS PGothic" charset="0"/>
                </a:endParaRPr>
              </a:p>
            </p:txBody>
          </p:sp>
          <p:sp>
            <p:nvSpPr>
              <p:cNvPr id="83" name="Freeform 82"/>
              <p:cNvSpPr>
                <a:spLocks noChangeAspect="1"/>
              </p:cNvSpPr>
              <p:nvPr/>
            </p:nvSpPr>
            <p:spPr bwMode="auto">
              <a:xfrm>
                <a:off x="9465910" y="1294762"/>
                <a:ext cx="3430209" cy="1552333"/>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pic>
            <p:nvPicPr>
              <p:cNvPr id="84" name="Picture 83"/>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620176" y="1332614"/>
                <a:ext cx="3034416" cy="1706858"/>
              </a:xfrm>
              <a:prstGeom prst="rect">
                <a:avLst/>
              </a:prstGeom>
              <a:ln>
                <a:noFill/>
              </a:ln>
              <a:effectLst>
                <a:outerShdw blurRad="50800" dist="38100" dir="2700000" algn="tl" rotWithShape="0">
                  <a:prstClr val="black">
                    <a:alpha val="40000"/>
                  </a:prstClr>
                </a:outerShdw>
              </a:effectLst>
            </p:spPr>
          </p:pic>
          <p:sp>
            <p:nvSpPr>
              <p:cNvPr id="85" name="TextBox 84"/>
              <p:cNvSpPr txBox="1"/>
              <p:nvPr/>
            </p:nvSpPr>
            <p:spPr>
              <a:xfrm>
                <a:off x="4840804" y="1188916"/>
                <a:ext cx="2334211" cy="793195"/>
              </a:xfrm>
              <a:prstGeom prst="rect">
                <a:avLst/>
              </a:prstGeom>
              <a:noFill/>
            </p:spPr>
            <p:txBody>
              <a:bodyPr wrap="square" lIns="179208" tIns="143366" rIns="179208" bIns="143366" rtlCol="0">
                <a:noAutofit/>
              </a:bodyPr>
              <a:lstStyle/>
              <a:p>
                <a:pPr marL="335951" indent="-335951" defTabSz="912979" fontAlgn="base">
                  <a:lnSpc>
                    <a:spcPct val="90000"/>
                  </a:lnSpc>
                  <a:spcBef>
                    <a:spcPct val="0"/>
                  </a:spcBef>
                  <a:spcAft>
                    <a:spcPts val="588"/>
                  </a:spcAft>
                  <a:buFont typeface="Wingdings 3" panose="05040102010807070707" pitchFamily="18" charset="2"/>
                  <a:buChar char="Æ"/>
                </a:pPr>
                <a:endParaRPr lang="en-US" sz="2353" err="1">
                  <a:gradFill>
                    <a:gsLst>
                      <a:gs pos="2917">
                        <a:srgbClr val="000000"/>
                      </a:gs>
                      <a:gs pos="30000">
                        <a:srgbClr val="000000"/>
                      </a:gs>
                    </a:gsLst>
                    <a:lin ang="5400000" scaled="0"/>
                  </a:gradFill>
                  <a:ea typeface="MS PGothic" charset="0"/>
                </a:endParaRPr>
              </a:p>
            </p:txBody>
          </p:sp>
          <p:sp>
            <p:nvSpPr>
              <p:cNvPr id="86" name="Freeform 23"/>
              <p:cNvSpPr>
                <a:spLocks noEditPoints="1"/>
              </p:cNvSpPr>
              <p:nvPr/>
            </p:nvSpPr>
            <p:spPr bwMode="black">
              <a:xfrm>
                <a:off x="6498307" y="4183677"/>
                <a:ext cx="672448" cy="65776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0653" tIns="40326" rIns="80653" bIns="40326" numCol="1" anchor="t" anchorCtr="0" compatLnSpc="1">
                <a:prstTxWarp prst="textNoShape">
                  <a:avLst/>
                </a:prstTxWarp>
              </a:bodyPr>
              <a:lstStyle/>
              <a:p>
                <a:pPr defTabSz="913841">
                  <a:defRPr/>
                </a:pPr>
                <a:endParaRPr lang="en-US" sz="1567" kern="0">
                  <a:ln>
                    <a:solidFill>
                      <a:srgbClr val="FFFFFF">
                        <a:alpha val="0"/>
                      </a:srgbClr>
                    </a:solidFill>
                  </a:ln>
                  <a:solidFill>
                    <a:srgbClr val="000000"/>
                  </a:solidFill>
                </a:endParaRPr>
              </a:p>
            </p:txBody>
          </p:sp>
          <p:sp>
            <p:nvSpPr>
              <p:cNvPr id="87" name="Freeform 5"/>
              <p:cNvSpPr>
                <a:spLocks noEditPoints="1"/>
              </p:cNvSpPr>
              <p:nvPr/>
            </p:nvSpPr>
            <p:spPr bwMode="auto">
              <a:xfrm>
                <a:off x="8984817" y="4183675"/>
                <a:ext cx="599757" cy="641371"/>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88" name="TextBox 87"/>
              <p:cNvSpPr txBox="1"/>
              <p:nvPr/>
            </p:nvSpPr>
            <p:spPr>
              <a:xfrm>
                <a:off x="11259438" y="3524499"/>
                <a:ext cx="1761096"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Cloud</a:t>
                </a:r>
              </a:p>
            </p:txBody>
          </p:sp>
          <p:sp>
            <p:nvSpPr>
              <p:cNvPr id="89" name="TextBox 88"/>
              <p:cNvSpPr txBox="1"/>
              <p:nvPr/>
            </p:nvSpPr>
            <p:spPr>
              <a:xfrm>
                <a:off x="11174803" y="4068400"/>
                <a:ext cx="1761094"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On-premises</a:t>
                </a:r>
              </a:p>
            </p:txBody>
          </p:sp>
          <p:sp>
            <p:nvSpPr>
              <p:cNvPr id="90" name="TextBox 89"/>
              <p:cNvSpPr txBox="1"/>
              <p:nvPr/>
            </p:nvSpPr>
            <p:spPr>
              <a:xfrm>
                <a:off x="8629173" y="4851753"/>
                <a:ext cx="1350858" cy="845780"/>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91" name="Oval 90"/>
              <p:cNvSpPr/>
              <p:nvPr/>
            </p:nvSpPr>
            <p:spPr bwMode="auto">
              <a:xfrm>
                <a:off x="6634873" y="3694051"/>
                <a:ext cx="367203" cy="367202"/>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sp>
            <p:nvSpPr>
              <p:cNvPr id="92" name="Freeform 5"/>
              <p:cNvSpPr>
                <a:spLocks noEditPoints="1"/>
              </p:cNvSpPr>
              <p:nvPr/>
            </p:nvSpPr>
            <p:spPr bwMode="auto">
              <a:xfrm>
                <a:off x="6640787" y="3694051"/>
                <a:ext cx="387489" cy="387637"/>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grpSp>
        <p:sp>
          <p:nvSpPr>
            <p:cNvPr id="76" name="Oval 75"/>
            <p:cNvSpPr/>
            <p:nvPr/>
          </p:nvSpPr>
          <p:spPr bwMode="auto">
            <a:xfrm>
              <a:off x="9217728" y="3600020"/>
              <a:ext cx="270124" cy="2701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sp>
          <p:nvSpPr>
            <p:cNvPr id="77" name="Freeform 5"/>
            <p:cNvSpPr>
              <a:spLocks noEditPoints="1"/>
            </p:cNvSpPr>
            <p:nvPr/>
          </p:nvSpPr>
          <p:spPr bwMode="auto">
            <a:xfrm>
              <a:off x="9199411" y="3607808"/>
              <a:ext cx="285048" cy="285158"/>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grpSp>
      <p:sp>
        <p:nvSpPr>
          <p:cNvPr id="97" name="Freeform 5"/>
          <p:cNvSpPr>
            <a:spLocks noChangeAspect="1" noEditPoints="1"/>
          </p:cNvSpPr>
          <p:nvPr/>
        </p:nvSpPr>
        <p:spPr bwMode="auto">
          <a:xfrm rot="16200000">
            <a:off x="9780536" y="2579163"/>
            <a:ext cx="274320" cy="270816"/>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sp>
        <p:nvSpPr>
          <p:cNvPr id="98" name="TextBox 97"/>
          <p:cNvSpPr txBox="1"/>
          <p:nvPr/>
        </p:nvSpPr>
        <p:spPr>
          <a:xfrm>
            <a:off x="9961934" y="2187192"/>
            <a:ext cx="1618644" cy="841749"/>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aaS, Azure, SharePoint, Web, OneDrive	</a:t>
            </a:r>
          </a:p>
        </p:txBody>
      </p:sp>
      <p:sp>
        <p:nvSpPr>
          <p:cNvPr id="99" name="Freeform 5"/>
          <p:cNvSpPr>
            <a:spLocks noEditPoints="1"/>
          </p:cNvSpPr>
          <p:nvPr/>
        </p:nvSpPr>
        <p:spPr bwMode="auto">
          <a:xfrm>
            <a:off x="8383653" y="3931872"/>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100" name="TextBox 99"/>
          <p:cNvSpPr txBox="1"/>
          <p:nvPr/>
        </p:nvSpPr>
        <p:spPr>
          <a:xfrm>
            <a:off x="8137159" y="4398612"/>
            <a:ext cx="936265" cy="590889"/>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01" name="Oval 100"/>
          <p:cNvSpPr/>
          <p:nvPr/>
        </p:nvSpPr>
        <p:spPr bwMode="auto">
          <a:xfrm>
            <a:off x="8451506" y="3587194"/>
            <a:ext cx="254504" cy="256539"/>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sp>
        <p:nvSpPr>
          <p:cNvPr id="102" name="Freeform 5"/>
          <p:cNvSpPr>
            <a:spLocks noEditPoints="1"/>
          </p:cNvSpPr>
          <p:nvPr/>
        </p:nvSpPr>
        <p:spPr bwMode="auto">
          <a:xfrm>
            <a:off x="8452617" y="3564698"/>
            <a:ext cx="268564" cy="270816"/>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sp>
        <p:nvSpPr>
          <p:cNvPr id="66" name="TextBox 65"/>
          <p:cNvSpPr txBox="1"/>
          <p:nvPr/>
        </p:nvSpPr>
        <p:spPr>
          <a:xfrm>
            <a:off x="7322721" y="1232093"/>
            <a:ext cx="1376225" cy="634358"/>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a:gradFill>
                  <a:gsLst>
                    <a:gs pos="2917">
                      <a:srgbClr val="000000"/>
                    </a:gs>
                    <a:gs pos="30000">
                      <a:srgbClr val="000000"/>
                    </a:gs>
                  </a:gsLst>
                  <a:lin ang="5400000" scaled="0"/>
                </a:gradFill>
              </a:rPr>
              <a:t>Live Power BI Dashboards and Reports</a:t>
            </a:r>
          </a:p>
        </p:txBody>
      </p:sp>
    </p:spTree>
    <p:extLst>
      <p:ext uri="{BB962C8B-B14F-4D97-AF65-F5344CB8AC3E}">
        <p14:creationId xmlns:p14="http://schemas.microsoft.com/office/powerpoint/2010/main" val="2999997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r>
              <a:rPr lang="en-US" sz="3200">
                <a:solidFill>
                  <a:schemeClr val="tx1"/>
                </a:solidFill>
              </a:rPr>
              <a:t>Embed, extend, and integrate with the Power BI Platform</a:t>
            </a:r>
          </a:p>
          <a:p>
            <a:pPr marL="168275"/>
            <a:endParaRPr lang="en-US" sz="3600">
              <a:solidFill>
                <a:schemeClr val="tx1"/>
              </a:solidFill>
            </a:endParaRPr>
          </a:p>
          <a:p>
            <a:pPr marL="168275"/>
            <a:endParaRPr lang="en-US" sz="3600" b="1">
              <a:solidFill>
                <a:schemeClr val="tx1"/>
              </a:solidFill>
            </a:endParaRPr>
          </a:p>
          <a:p>
            <a:pPr marL="168275"/>
            <a:endParaRPr lang="en-IN" sz="3600">
              <a:solidFill>
                <a:schemeClr val="tx1"/>
              </a:solidFill>
            </a:endParaRPr>
          </a:p>
        </p:txBody>
      </p:sp>
      <p:sp>
        <p:nvSpPr>
          <p:cNvPr id="49" name="Rectangle 48"/>
          <p:cNvSpPr/>
          <p:nvPr/>
        </p:nvSpPr>
        <p:spPr>
          <a:xfrm>
            <a:off x="2884255" y="1177268"/>
            <a:ext cx="5896704" cy="5355312"/>
          </a:xfrm>
          <a:prstGeom prst="rect">
            <a:avLst/>
          </a:prstGeom>
        </p:spPr>
        <p:txBody>
          <a:bodyPr wrap="square">
            <a:spAutoFit/>
          </a:bodyPr>
          <a:lstStyle/>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Application developers can embed Power BI tiles and reports as an </a:t>
            </a:r>
            <a:r>
              <a:rPr lang="en-US" sz="2000" dirty="0" err="1">
                <a:latin typeface="+mj-lt"/>
                <a:ea typeface="Calibri" panose="020F0502020204030204" pitchFamily="34" charset="0"/>
                <a:cs typeface="Times New Roman" panose="02020603050405020304" pitchFamily="18" charset="0"/>
              </a:rPr>
              <a:t>IFrame</a:t>
            </a:r>
            <a:r>
              <a:rPr lang="en-US" sz="2000" dirty="0">
                <a:latin typeface="+mj-lt"/>
                <a:ea typeface="Calibri" panose="020F0502020204030204" pitchFamily="34" charset="0"/>
                <a:cs typeface="Times New Roman" panose="02020603050405020304" pitchFamily="18" charset="0"/>
              </a:rPr>
              <a:t> into an app, such as a mobile app or web app. </a:t>
            </a: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Use the REST API to push data directly from your application into Power BI</a:t>
            </a: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Programmatically access Power BI resources (datasets, tables, schemas)</a:t>
            </a: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Secure access to Power BI service using Azure Active Directory and OAuth 2.0 authentication</a:t>
            </a: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Create your own custom visuals from the published open source visuals and the provided framework</a:t>
            </a:r>
          </a:p>
          <a:p>
            <a:pPr>
              <a:spcBef>
                <a:spcPts val="600"/>
              </a:spcBef>
              <a:spcAft>
                <a:spcPts val="600"/>
              </a:spcAft>
            </a:pPr>
            <a:endParaRPr lang="en-US" sz="2000" dirty="0">
              <a:latin typeface="+mj-lt"/>
              <a:ea typeface="Calibri" panose="020F0502020204030204" pitchFamily="34" charset="0"/>
              <a:cs typeface="Times New Roman" panose="02020603050405020304" pitchFamily="18" charset="0"/>
            </a:endParaRPr>
          </a:p>
          <a:p>
            <a:pPr>
              <a:lnSpc>
                <a:spcPct val="150000"/>
              </a:lnSpc>
            </a:pPr>
            <a:endParaRPr lang="en-US" dirty="0">
              <a:latin typeface="+mj-lt"/>
              <a:ea typeface="Calibri" panose="020F0502020204030204" pitchFamily="34" charset="0"/>
              <a:cs typeface="Times New Roman" panose="02020603050405020304" pitchFamily="18" charset="0"/>
            </a:endParaRP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4558352"/>
            <a:ext cx="2816907" cy="2299648"/>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1" y="657643"/>
            <a:ext cx="2814282" cy="2802416"/>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8" name="Rectangle 97"/>
          <p:cNvSpPr/>
          <p:nvPr/>
        </p:nvSpPr>
        <p:spPr bwMode="auto">
          <a:xfrm>
            <a:off x="6206787" y="2137348"/>
            <a:ext cx="1195233" cy="24782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030" fontAlgn="base">
              <a:spcBef>
                <a:spcPct val="0"/>
              </a:spcBef>
              <a:spcAft>
                <a:spcPct val="0"/>
              </a:spcAft>
            </a:pPr>
            <a:r>
              <a:rPr lang="en-US" sz="1029">
                <a:gradFill>
                  <a:gsLst>
                    <a:gs pos="16814">
                      <a:srgbClr val="FFFFFF"/>
                    </a:gs>
                    <a:gs pos="46000">
                      <a:srgbClr val="FFFFFF"/>
                    </a:gs>
                  </a:gsLst>
                  <a:lin ang="5400000" scaled="0"/>
                </a:gradFill>
              </a:rPr>
              <a:t>AAD User</a:t>
            </a:r>
          </a:p>
        </p:txBody>
      </p:sp>
      <p:sp>
        <p:nvSpPr>
          <p:cNvPr id="100" name="Rectangle 99"/>
          <p:cNvSpPr/>
          <p:nvPr/>
        </p:nvSpPr>
        <p:spPr bwMode="auto">
          <a:xfrm>
            <a:off x="5050171" y="5490170"/>
            <a:ext cx="1195233" cy="24782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030" fontAlgn="base">
              <a:spcBef>
                <a:spcPct val="0"/>
              </a:spcBef>
              <a:spcAft>
                <a:spcPct val="0"/>
              </a:spcAft>
            </a:pPr>
            <a:r>
              <a:rPr lang="en-US" sz="1029">
                <a:gradFill>
                  <a:gsLst>
                    <a:gs pos="16814">
                      <a:srgbClr val="FFFFFF"/>
                    </a:gs>
                    <a:gs pos="46000">
                      <a:srgbClr val="FFFFFF"/>
                    </a:gs>
                  </a:gsLst>
                  <a:lin ang="5400000" scaled="0"/>
                </a:gradFill>
              </a:rPr>
              <a:t>Anonymous</a:t>
            </a:r>
          </a:p>
        </p:txBody>
      </p:sp>
      <p:pic>
        <p:nvPicPr>
          <p:cNvPr id="65" name="Picture 6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67695" y="1275967"/>
            <a:ext cx="2468880" cy="4334256"/>
          </a:xfrm>
          <a:prstGeom prst="rect">
            <a:avLst/>
          </a:prstGeom>
          <a:ln>
            <a:solidFill>
              <a:schemeClr val="bg2">
                <a:lumMod val="9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8406303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chemeClr val="tx1"/>
                </a:solidFill>
              </a:rPr>
              <a:t>Keep your data current</a:t>
            </a:r>
          </a:p>
          <a:p>
            <a:pPr marL="168275"/>
            <a:endParaRPr lang="en-US" sz="3600" b="1">
              <a:solidFill>
                <a:schemeClr val="tx1"/>
              </a:solidFill>
            </a:endParaRPr>
          </a:p>
          <a:p>
            <a:pPr marL="168275"/>
            <a:endParaRPr lang="en-IN" sz="3600">
              <a:solidFill>
                <a:schemeClr val="tx1"/>
              </a:solidFill>
            </a:endParaRPr>
          </a:p>
        </p:txBody>
      </p:sp>
      <p:sp>
        <p:nvSpPr>
          <p:cNvPr id="49" name="Rectangle 48"/>
          <p:cNvSpPr/>
          <p:nvPr/>
        </p:nvSpPr>
        <p:spPr>
          <a:xfrm>
            <a:off x="2870528" y="1153821"/>
            <a:ext cx="4017102" cy="2908489"/>
          </a:xfrm>
          <a:prstGeom prst="rect">
            <a:avLst/>
          </a:prstGeom>
        </p:spPr>
        <p:txBody>
          <a:bodyPr wrap="square">
            <a:spAutoFit/>
          </a:bodyPr>
          <a:lstStyle/>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Access and refresh the data via</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Direct Query (Azure SQL, DW and Spark HDInsight)</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Import (with scheduled refresh)</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REST APIs to stream data</a:t>
            </a:r>
          </a:p>
          <a:p>
            <a:pPr lvl="1"/>
            <a:endParaRPr lang="en-US" sz="2000" dirty="0">
              <a:latin typeface="+mj-lt"/>
              <a:ea typeface="Calibri" panose="020F0502020204030204" pitchFamily="34" charset="0"/>
              <a:cs typeface="Times New Roman" panose="02020603050405020304" pitchFamily="18" charset="0"/>
            </a:endParaRP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Refresh on-premise data with</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Power BI Personal Gateway </a:t>
            </a:r>
          </a:p>
          <a:p>
            <a:pPr marL="800100" lvl="1" indent="-342900">
              <a:buFont typeface="Courier New" panose="02070309020205020404" pitchFamily="49" charset="0"/>
              <a:buChar char="o"/>
            </a:pPr>
            <a:r>
              <a:rPr lang="en-US" dirty="0">
                <a:latin typeface="+mj-lt"/>
                <a:ea typeface="Calibri" panose="020F0502020204030204" pitchFamily="34" charset="0"/>
                <a:cs typeface="Times New Roman" panose="02020603050405020304" pitchFamily="18" charset="0"/>
              </a:rPr>
              <a:t>On-Premises Data Gateway</a:t>
            </a: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5522328"/>
            <a:ext cx="2816907" cy="1335672"/>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1" y="657643"/>
            <a:ext cx="2785036" cy="3872536"/>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5" name="Oval 74"/>
          <p:cNvSpPr/>
          <p:nvPr/>
        </p:nvSpPr>
        <p:spPr bwMode="auto">
          <a:xfrm>
            <a:off x="9666639" y="3571379"/>
            <a:ext cx="254504" cy="256539"/>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cxnSp>
        <p:nvCxnSpPr>
          <p:cNvPr id="79" name="Straight Connector 78"/>
          <p:cNvCxnSpPr/>
          <p:nvPr/>
        </p:nvCxnSpPr>
        <p:spPr>
          <a:xfrm flipV="1">
            <a:off x="7460214" y="3697775"/>
            <a:ext cx="4389121" cy="1656"/>
          </a:xfrm>
          <a:prstGeom prst="line">
            <a:avLst/>
          </a:prstGeom>
          <a:noFill/>
          <a:ln w="15875" cap="flat" cmpd="sng" algn="ctr">
            <a:solidFill>
              <a:srgbClr val="505050"/>
            </a:solidFill>
            <a:prstDash val="dash"/>
            <a:headEnd type="none"/>
            <a:tailEnd type="none"/>
          </a:ln>
          <a:effectLst/>
        </p:spPr>
      </p:cxnSp>
      <p:sp>
        <p:nvSpPr>
          <p:cNvPr id="80" name="TextBox 79"/>
          <p:cNvSpPr txBox="1"/>
          <p:nvPr/>
        </p:nvSpPr>
        <p:spPr>
          <a:xfrm>
            <a:off x="7248410" y="4375290"/>
            <a:ext cx="1245177" cy="590889"/>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p>
        </p:txBody>
      </p:sp>
      <p:sp>
        <p:nvSpPr>
          <p:cNvPr id="95" name="Freeform 94"/>
          <p:cNvSpPr>
            <a:spLocks noEditPoints="1"/>
          </p:cNvSpPr>
          <p:nvPr/>
        </p:nvSpPr>
        <p:spPr bwMode="auto">
          <a:xfrm>
            <a:off x="10669839" y="4206664"/>
            <a:ext cx="249647" cy="604489"/>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96" name="Freeform 95"/>
          <p:cNvSpPr>
            <a:spLocks noEditPoints="1"/>
          </p:cNvSpPr>
          <p:nvPr/>
        </p:nvSpPr>
        <p:spPr bwMode="auto">
          <a:xfrm>
            <a:off x="10943909" y="4206664"/>
            <a:ext cx="222512" cy="604489"/>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97" name="Freeform 96"/>
          <p:cNvSpPr>
            <a:spLocks noEditPoints="1"/>
          </p:cNvSpPr>
          <p:nvPr/>
        </p:nvSpPr>
        <p:spPr bwMode="auto">
          <a:xfrm>
            <a:off x="11466267" y="4337957"/>
            <a:ext cx="222512" cy="473197"/>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31" name="Freeform 130"/>
          <p:cNvSpPr>
            <a:spLocks noEditPoints="1"/>
          </p:cNvSpPr>
          <p:nvPr/>
        </p:nvSpPr>
        <p:spPr bwMode="auto">
          <a:xfrm>
            <a:off x="11190843" y="4296927"/>
            <a:ext cx="251004" cy="514227"/>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83" name="Freeform 82"/>
          <p:cNvSpPr>
            <a:spLocks/>
          </p:cNvSpPr>
          <p:nvPr/>
        </p:nvSpPr>
        <p:spPr bwMode="auto">
          <a:xfrm>
            <a:off x="7304440" y="5031137"/>
            <a:ext cx="4752529" cy="7673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84" name="Freeform 83"/>
          <p:cNvSpPr>
            <a:spLocks noChangeAspect="1"/>
          </p:cNvSpPr>
          <p:nvPr/>
        </p:nvSpPr>
        <p:spPr bwMode="auto">
          <a:xfrm>
            <a:off x="9454718" y="1251057"/>
            <a:ext cx="2468880" cy="1529225"/>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30" fontAlgn="base">
              <a:spcBef>
                <a:spcPct val="0"/>
              </a:spcBef>
              <a:spcAft>
                <a:spcPct val="0"/>
              </a:spcAft>
            </a:pPr>
            <a:endParaRPr lang="en-US" sz="2353">
              <a:solidFill>
                <a:srgbClr val="000000"/>
              </a:solidFill>
              <a:ea typeface="MS PGothic" charset="0"/>
              <a:cs typeface="MS PGothic" charset="0"/>
            </a:endParaRPr>
          </a:p>
        </p:txBody>
      </p:sp>
      <p:sp>
        <p:nvSpPr>
          <p:cNvPr id="85" name="Freeform 84"/>
          <p:cNvSpPr>
            <a:spLocks noChangeAspect="1"/>
          </p:cNvSpPr>
          <p:nvPr/>
        </p:nvSpPr>
        <p:spPr bwMode="auto">
          <a:xfrm>
            <a:off x="9696997" y="1895297"/>
            <a:ext cx="2377440" cy="1084508"/>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pic>
        <p:nvPicPr>
          <p:cNvPr id="86" name="Picture 85"/>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7724650" y="1921741"/>
            <a:ext cx="2103120" cy="1192464"/>
          </a:xfrm>
          <a:prstGeom prst="rect">
            <a:avLst/>
          </a:prstGeom>
          <a:ln>
            <a:noFill/>
          </a:ln>
          <a:effectLst>
            <a:outerShdw blurRad="50800" dist="38100" dir="2700000" algn="tl" rotWithShape="0">
              <a:prstClr val="black">
                <a:alpha val="40000"/>
              </a:prstClr>
            </a:outerShdw>
          </a:effectLst>
        </p:spPr>
      </p:pic>
      <p:sp>
        <p:nvSpPr>
          <p:cNvPr id="87" name="TextBox 86"/>
          <p:cNvSpPr txBox="1"/>
          <p:nvPr/>
        </p:nvSpPr>
        <p:spPr>
          <a:xfrm>
            <a:off x="6491387" y="1821349"/>
            <a:ext cx="1617816" cy="554151"/>
          </a:xfrm>
          <a:prstGeom prst="rect">
            <a:avLst/>
          </a:prstGeom>
          <a:noFill/>
        </p:spPr>
        <p:txBody>
          <a:bodyPr wrap="square" lIns="179208" tIns="143366" rIns="179208" bIns="143366" rtlCol="0">
            <a:noAutofit/>
          </a:bodyPr>
          <a:lstStyle/>
          <a:p>
            <a:pPr marL="335951" indent="-335951" defTabSz="912979" fontAlgn="base">
              <a:lnSpc>
                <a:spcPct val="90000"/>
              </a:lnSpc>
              <a:spcBef>
                <a:spcPct val="0"/>
              </a:spcBef>
              <a:spcAft>
                <a:spcPts val="588"/>
              </a:spcAft>
              <a:buFont typeface="Wingdings 3" panose="05040102010807070707" pitchFamily="18" charset="2"/>
              <a:buChar char="Æ"/>
            </a:pPr>
            <a:endParaRPr lang="en-US" sz="2353" err="1">
              <a:gradFill>
                <a:gsLst>
                  <a:gs pos="2917">
                    <a:srgbClr val="000000"/>
                  </a:gs>
                  <a:gs pos="30000">
                    <a:srgbClr val="000000"/>
                  </a:gs>
                </a:gsLst>
                <a:lin ang="5400000" scaled="0"/>
              </a:gradFill>
              <a:ea typeface="MS PGothic" charset="0"/>
            </a:endParaRPr>
          </a:p>
        </p:txBody>
      </p:sp>
      <p:sp>
        <p:nvSpPr>
          <p:cNvPr id="88" name="Freeform 23"/>
          <p:cNvSpPr>
            <a:spLocks noEditPoints="1"/>
          </p:cNvSpPr>
          <p:nvPr/>
        </p:nvSpPr>
        <p:spPr bwMode="black">
          <a:xfrm>
            <a:off x="7640184" y="3913582"/>
            <a:ext cx="466066" cy="459533"/>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0653" tIns="40326" rIns="80653" bIns="40326" numCol="1" anchor="t" anchorCtr="0" compatLnSpc="1">
            <a:prstTxWarp prst="textNoShape">
              <a:avLst/>
            </a:prstTxWarp>
          </a:bodyPr>
          <a:lstStyle/>
          <a:p>
            <a:pPr defTabSz="913841">
              <a:defRPr/>
            </a:pPr>
            <a:endParaRPr lang="en-US" sz="1567" kern="0">
              <a:ln>
                <a:solidFill>
                  <a:srgbClr val="FFFFFF">
                    <a:alpha val="0"/>
                  </a:srgbClr>
                </a:solidFill>
              </a:ln>
              <a:solidFill>
                <a:srgbClr val="000000"/>
              </a:solidFill>
            </a:endParaRPr>
          </a:p>
        </p:txBody>
      </p:sp>
      <p:sp>
        <p:nvSpPr>
          <p:cNvPr id="89" name="Freeform 5"/>
          <p:cNvSpPr>
            <a:spLocks noEditPoints="1"/>
          </p:cNvSpPr>
          <p:nvPr/>
        </p:nvSpPr>
        <p:spPr bwMode="auto">
          <a:xfrm>
            <a:off x="9363237" y="3913581"/>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90" name="TextBox 89"/>
          <p:cNvSpPr txBox="1"/>
          <p:nvPr/>
        </p:nvSpPr>
        <p:spPr>
          <a:xfrm>
            <a:off x="10940072" y="3453060"/>
            <a:ext cx="1220596" cy="136232"/>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Cloud</a:t>
            </a:r>
          </a:p>
        </p:txBody>
      </p:sp>
      <p:sp>
        <p:nvSpPr>
          <p:cNvPr id="91" name="TextBox 90"/>
          <p:cNvSpPr txBox="1"/>
          <p:nvPr/>
        </p:nvSpPr>
        <p:spPr>
          <a:xfrm>
            <a:off x="10881412" y="3833046"/>
            <a:ext cx="1220595" cy="136232"/>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On-premises</a:t>
            </a:r>
          </a:p>
        </p:txBody>
      </p:sp>
      <p:sp>
        <p:nvSpPr>
          <p:cNvPr id="92" name="TextBox 91"/>
          <p:cNvSpPr txBox="1"/>
          <p:nvPr/>
        </p:nvSpPr>
        <p:spPr>
          <a:xfrm>
            <a:off x="9116744" y="4380321"/>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93" name="Oval 92"/>
          <p:cNvSpPr/>
          <p:nvPr/>
        </p:nvSpPr>
        <p:spPr bwMode="auto">
          <a:xfrm>
            <a:off x="7734837" y="3571514"/>
            <a:ext cx="254504" cy="256539"/>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sp>
        <p:nvSpPr>
          <p:cNvPr id="94" name="Freeform 5"/>
          <p:cNvSpPr>
            <a:spLocks noEditPoints="1"/>
          </p:cNvSpPr>
          <p:nvPr/>
        </p:nvSpPr>
        <p:spPr bwMode="auto">
          <a:xfrm>
            <a:off x="7738935" y="3571514"/>
            <a:ext cx="268564" cy="270815"/>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sp>
        <p:nvSpPr>
          <p:cNvPr id="77" name="Oval 76"/>
          <p:cNvSpPr/>
          <p:nvPr/>
        </p:nvSpPr>
        <p:spPr bwMode="auto">
          <a:xfrm>
            <a:off x="9431089" y="3568903"/>
            <a:ext cx="254504" cy="256539"/>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sp>
        <p:nvSpPr>
          <p:cNvPr id="78" name="Freeform 5"/>
          <p:cNvSpPr>
            <a:spLocks noEditPoints="1"/>
          </p:cNvSpPr>
          <p:nvPr/>
        </p:nvSpPr>
        <p:spPr bwMode="auto">
          <a:xfrm>
            <a:off x="9437895" y="3576299"/>
            <a:ext cx="268565" cy="270816"/>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sp>
        <p:nvSpPr>
          <p:cNvPr id="132" name="Freeform 5"/>
          <p:cNvSpPr>
            <a:spLocks noChangeAspect="1" noEditPoints="1"/>
          </p:cNvSpPr>
          <p:nvPr/>
        </p:nvSpPr>
        <p:spPr bwMode="auto">
          <a:xfrm rot="16200000">
            <a:off x="9949352" y="2579163"/>
            <a:ext cx="274320" cy="270816"/>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sp>
        <p:nvSpPr>
          <p:cNvPr id="133" name="TextBox 132"/>
          <p:cNvSpPr txBox="1"/>
          <p:nvPr/>
        </p:nvSpPr>
        <p:spPr>
          <a:xfrm>
            <a:off x="10130750" y="2187192"/>
            <a:ext cx="1618644" cy="841749"/>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50">
                <a:gradFill>
                  <a:gsLst>
                    <a:gs pos="72566">
                      <a:srgbClr val="505050"/>
                    </a:gs>
                    <a:gs pos="43000">
                      <a:srgbClr val="505050"/>
                    </a:gs>
                  </a:gsLst>
                  <a:lin ang="5400000" scaled="0"/>
                </a:gradFill>
                <a:latin typeface="Segoe UI Semibold"/>
                <a:ea typeface="MS PGothic"/>
                <a:cs typeface="Segoe UI Semibold"/>
              </a:rPr>
              <a:t>SaaS, Azure, SAP, Web, Oracle, Salesforce.com	</a:t>
            </a:r>
          </a:p>
        </p:txBody>
      </p:sp>
      <p:sp>
        <p:nvSpPr>
          <p:cNvPr id="134" name="Freeform 5"/>
          <p:cNvSpPr>
            <a:spLocks noEditPoints="1"/>
          </p:cNvSpPr>
          <p:nvPr/>
        </p:nvSpPr>
        <p:spPr bwMode="auto">
          <a:xfrm>
            <a:off x="8552469" y="3931872"/>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135" name="TextBox 134"/>
          <p:cNvSpPr txBox="1"/>
          <p:nvPr/>
        </p:nvSpPr>
        <p:spPr>
          <a:xfrm>
            <a:off x="8305975" y="4398612"/>
            <a:ext cx="936265" cy="590889"/>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36" name="Oval 135"/>
          <p:cNvSpPr/>
          <p:nvPr/>
        </p:nvSpPr>
        <p:spPr bwMode="auto">
          <a:xfrm>
            <a:off x="8620322" y="3587194"/>
            <a:ext cx="254504" cy="256539"/>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sp>
        <p:nvSpPr>
          <p:cNvPr id="137" name="Freeform 5"/>
          <p:cNvSpPr>
            <a:spLocks noEditPoints="1"/>
          </p:cNvSpPr>
          <p:nvPr/>
        </p:nvSpPr>
        <p:spPr bwMode="auto">
          <a:xfrm>
            <a:off x="8621433" y="3564698"/>
            <a:ext cx="268564" cy="270816"/>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sp>
        <p:nvSpPr>
          <p:cNvPr id="138" name="TextBox 137"/>
          <p:cNvSpPr txBox="1"/>
          <p:nvPr/>
        </p:nvSpPr>
        <p:spPr>
          <a:xfrm>
            <a:off x="7338464" y="3135846"/>
            <a:ext cx="1072943" cy="38672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Live Query</a:t>
            </a:r>
          </a:p>
        </p:txBody>
      </p:sp>
      <p:sp>
        <p:nvSpPr>
          <p:cNvPr id="139" name="TextBox 138"/>
          <p:cNvSpPr txBox="1"/>
          <p:nvPr/>
        </p:nvSpPr>
        <p:spPr>
          <a:xfrm>
            <a:off x="8177542" y="3181808"/>
            <a:ext cx="1089420" cy="38672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Direct Query</a:t>
            </a:r>
          </a:p>
        </p:txBody>
      </p:sp>
      <p:sp>
        <p:nvSpPr>
          <p:cNvPr id="140" name="TextBox 139"/>
          <p:cNvSpPr txBox="1"/>
          <p:nvPr/>
        </p:nvSpPr>
        <p:spPr>
          <a:xfrm>
            <a:off x="9013631" y="3175322"/>
            <a:ext cx="1089420" cy="38672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Scheduled Refresh</a:t>
            </a:r>
          </a:p>
        </p:txBody>
      </p:sp>
      <p:sp>
        <p:nvSpPr>
          <p:cNvPr id="81" name="TextBox 80"/>
          <p:cNvSpPr txBox="1"/>
          <p:nvPr/>
        </p:nvSpPr>
        <p:spPr>
          <a:xfrm>
            <a:off x="7600329" y="1271729"/>
            <a:ext cx="1376225" cy="634358"/>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a:gradFill>
                  <a:gsLst>
                    <a:gs pos="2917">
                      <a:srgbClr val="000000"/>
                    </a:gs>
                    <a:gs pos="30000">
                      <a:srgbClr val="000000"/>
                    </a:gs>
                  </a:gsLst>
                  <a:lin ang="5400000" scaled="0"/>
                </a:gradFill>
              </a:rPr>
              <a:t>Live Power BI Dashboards and Reports</a:t>
            </a:r>
          </a:p>
        </p:txBody>
      </p:sp>
    </p:spTree>
    <p:extLst>
      <p:ext uri="{BB962C8B-B14F-4D97-AF65-F5344CB8AC3E}">
        <p14:creationId xmlns:p14="http://schemas.microsoft.com/office/powerpoint/2010/main" val="9249772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15443" y="9056"/>
            <a:ext cx="9376557"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chemeClr val="tx1"/>
                </a:solidFill>
              </a:rPr>
              <a:t>Scheduled refresh with Power BI Personal Gateway</a:t>
            </a:r>
          </a:p>
          <a:p>
            <a:pPr marL="168275"/>
            <a:endParaRPr lang="en-US" sz="3600" b="1">
              <a:solidFill>
                <a:schemeClr val="tx1"/>
              </a:solidFill>
            </a:endParaRPr>
          </a:p>
          <a:p>
            <a:pPr marL="168275"/>
            <a:endParaRPr lang="en-IN" sz="3600">
              <a:solidFill>
                <a:schemeClr val="tx1"/>
              </a:solidFill>
            </a:endParaRPr>
          </a:p>
        </p:txBody>
      </p:sp>
      <p:sp>
        <p:nvSpPr>
          <p:cNvPr id="49" name="Rectangle 48"/>
          <p:cNvSpPr/>
          <p:nvPr/>
        </p:nvSpPr>
        <p:spPr>
          <a:xfrm>
            <a:off x="2871352" y="1154905"/>
            <a:ext cx="4127064" cy="4247317"/>
          </a:xfrm>
          <a:prstGeom prst="rect">
            <a:avLst/>
          </a:prstGeom>
        </p:spPr>
        <p:txBody>
          <a:bodyPr wrap="square">
            <a:spAutoFit/>
          </a:bodyPr>
          <a:lstStyle/>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Personal Gateway empowers the business analyst to securely and easily refresh </a:t>
            </a:r>
            <a:r>
              <a:rPr lang="en-US" sz="2000" err="1">
                <a:latin typeface="+mj-lt"/>
                <a:ea typeface="Calibri" panose="020F0502020204030204" pitchFamily="34" charset="0"/>
                <a:cs typeface="Times New Roman" panose="02020603050405020304" pitchFamily="18" charset="0"/>
              </a:rPr>
              <a:t>on-premise</a:t>
            </a:r>
            <a:r>
              <a:rPr lang="en-US" sz="2000">
                <a:latin typeface="+mj-lt"/>
                <a:ea typeface="Calibri" panose="020F0502020204030204" pitchFamily="34" charset="0"/>
                <a:cs typeface="Times New Roman" panose="02020603050405020304" pitchFamily="18" charset="0"/>
              </a:rPr>
              <a:t> data </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Self-service data refresh - no help from IT required</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Easy &amp; simple to use - lightweight one-click installer </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One Personal Gateway per user</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Runs either as a service or an app</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Import of data with scheduled refresh</a:t>
            </a: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5522328"/>
            <a:ext cx="2816907" cy="1335672"/>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0" y="657643"/>
            <a:ext cx="2787733" cy="3872536"/>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96" name="Group 95"/>
          <p:cNvGrpSpPr>
            <a:grpSpLocks noChangeAspect="1"/>
          </p:cNvGrpSpPr>
          <p:nvPr/>
        </p:nvGrpSpPr>
        <p:grpSpPr>
          <a:xfrm>
            <a:off x="6378844" y="1287559"/>
            <a:ext cx="5766056" cy="3819280"/>
            <a:chOff x="6071720" y="1197864"/>
            <a:chExt cx="6119944" cy="4021531"/>
          </a:xfrm>
        </p:grpSpPr>
        <p:sp>
          <p:nvSpPr>
            <p:cNvPr id="97" name="Oval 96"/>
            <p:cNvSpPr/>
            <p:nvPr/>
          </p:nvSpPr>
          <p:spPr bwMode="auto">
            <a:xfrm>
              <a:off x="9441855" y="3602627"/>
              <a:ext cx="270124" cy="2701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grpSp>
          <p:nvGrpSpPr>
            <p:cNvPr id="98" name="Group 97"/>
            <p:cNvGrpSpPr>
              <a:grpSpLocks noChangeAspect="1"/>
            </p:cNvGrpSpPr>
            <p:nvPr/>
          </p:nvGrpSpPr>
          <p:grpSpPr>
            <a:xfrm>
              <a:off x="6071720" y="1197864"/>
              <a:ext cx="6119944" cy="4021531"/>
              <a:chOff x="4840804" y="424970"/>
              <a:chExt cx="8319355" cy="5468177"/>
            </a:xfrm>
          </p:grpSpPr>
          <p:cxnSp>
            <p:nvCxnSpPr>
              <p:cNvPr id="101" name="Straight Connector 100"/>
              <p:cNvCxnSpPr/>
              <p:nvPr/>
            </p:nvCxnSpPr>
            <p:spPr>
              <a:xfrm flipV="1">
                <a:off x="5853844" y="3755734"/>
                <a:ext cx="7256212" cy="2370"/>
              </a:xfrm>
              <a:prstGeom prst="line">
                <a:avLst/>
              </a:prstGeom>
              <a:noFill/>
              <a:ln w="15875" cap="flat" cmpd="sng" algn="ctr">
                <a:solidFill>
                  <a:srgbClr val="505050"/>
                </a:solidFill>
                <a:prstDash val="dash"/>
                <a:headEnd type="none"/>
                <a:tailEnd type="none"/>
              </a:ln>
              <a:effectLst/>
            </p:spPr>
          </p:cxnSp>
          <p:grpSp>
            <p:nvGrpSpPr>
              <p:cNvPr id="102" name="Group 101"/>
              <p:cNvGrpSpPr/>
              <p:nvPr/>
            </p:nvGrpSpPr>
            <p:grpSpPr>
              <a:xfrm>
                <a:off x="10869544" y="4603185"/>
                <a:ext cx="1470144" cy="865250"/>
                <a:chOff x="2927465" y="5236638"/>
                <a:chExt cx="1470768" cy="865618"/>
              </a:xfrm>
            </p:grpSpPr>
            <p:sp>
              <p:nvSpPr>
                <p:cNvPr id="110" name="Freeform 109"/>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11" name="Freeform 110"/>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12" name="Freeform 111"/>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13" name="Freeform 112"/>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grpSp>
          <p:sp>
            <p:nvSpPr>
              <p:cNvPr id="103" name="Freeform 102"/>
              <p:cNvSpPr>
                <a:spLocks/>
              </p:cNvSpPr>
              <p:nvPr/>
            </p:nvSpPr>
            <p:spPr bwMode="auto">
              <a:xfrm>
                <a:off x="5903946" y="5783312"/>
                <a:ext cx="7256213" cy="109835"/>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104" name="Freeform 103"/>
              <p:cNvSpPr>
                <a:spLocks noChangeAspect="1"/>
              </p:cNvSpPr>
              <p:nvPr/>
            </p:nvSpPr>
            <p:spPr bwMode="auto">
              <a:xfrm>
                <a:off x="9223542" y="424970"/>
                <a:ext cx="3562140" cy="2188888"/>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30" fontAlgn="base">
                  <a:spcBef>
                    <a:spcPct val="0"/>
                  </a:spcBef>
                  <a:spcAft>
                    <a:spcPct val="0"/>
                  </a:spcAft>
                </a:pPr>
                <a:endParaRPr lang="en-US" sz="2353">
                  <a:solidFill>
                    <a:srgbClr val="000000"/>
                  </a:solidFill>
                  <a:ea typeface="MS PGothic" charset="0"/>
                  <a:cs typeface="MS PGothic" charset="0"/>
                </a:endParaRPr>
              </a:p>
            </p:txBody>
          </p:sp>
          <p:sp>
            <p:nvSpPr>
              <p:cNvPr id="105" name="Freeform 104"/>
              <p:cNvSpPr>
                <a:spLocks noChangeAspect="1"/>
              </p:cNvSpPr>
              <p:nvPr/>
            </p:nvSpPr>
            <p:spPr bwMode="auto">
              <a:xfrm>
                <a:off x="9661060" y="1294762"/>
                <a:ext cx="3430209" cy="1552333"/>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pic>
            <p:nvPicPr>
              <p:cNvPr id="106" name="Picture 105"/>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954402" y="1140650"/>
                <a:ext cx="3034416" cy="1706858"/>
              </a:xfrm>
              <a:prstGeom prst="rect">
                <a:avLst/>
              </a:prstGeom>
              <a:ln>
                <a:noFill/>
              </a:ln>
              <a:effectLst>
                <a:outerShdw blurRad="292100" dist="139700" dir="2700000" algn="tl" rotWithShape="0">
                  <a:srgbClr val="333333">
                    <a:alpha val="65000"/>
                  </a:srgbClr>
                </a:outerShdw>
              </a:effectLst>
            </p:spPr>
          </p:pic>
          <p:sp>
            <p:nvSpPr>
              <p:cNvPr id="107" name="TextBox 106"/>
              <p:cNvSpPr txBox="1"/>
              <p:nvPr/>
            </p:nvSpPr>
            <p:spPr>
              <a:xfrm>
                <a:off x="4840804" y="1188916"/>
                <a:ext cx="2334211" cy="793195"/>
              </a:xfrm>
              <a:prstGeom prst="rect">
                <a:avLst/>
              </a:prstGeom>
              <a:noFill/>
            </p:spPr>
            <p:txBody>
              <a:bodyPr wrap="square" lIns="179208" tIns="143366" rIns="179208" bIns="143366" rtlCol="0">
                <a:noAutofit/>
              </a:bodyPr>
              <a:lstStyle/>
              <a:p>
                <a:pPr marL="335951" indent="-335951" defTabSz="912979" fontAlgn="base">
                  <a:lnSpc>
                    <a:spcPct val="90000"/>
                  </a:lnSpc>
                  <a:spcBef>
                    <a:spcPct val="0"/>
                  </a:spcBef>
                  <a:spcAft>
                    <a:spcPts val="588"/>
                  </a:spcAft>
                  <a:buFont typeface="Wingdings 3" panose="05040102010807070707" pitchFamily="18" charset="2"/>
                  <a:buChar char="Æ"/>
                </a:pPr>
                <a:endParaRPr lang="en-US" sz="2353" err="1">
                  <a:gradFill>
                    <a:gsLst>
                      <a:gs pos="2917">
                        <a:srgbClr val="000000"/>
                      </a:gs>
                      <a:gs pos="30000">
                        <a:srgbClr val="000000"/>
                      </a:gs>
                    </a:gsLst>
                    <a:lin ang="5400000" scaled="0"/>
                  </a:gradFill>
                  <a:ea typeface="MS PGothic" charset="0"/>
                </a:endParaRPr>
              </a:p>
            </p:txBody>
          </p:sp>
          <p:sp>
            <p:nvSpPr>
              <p:cNvPr id="108" name="TextBox 107"/>
              <p:cNvSpPr txBox="1"/>
              <p:nvPr/>
            </p:nvSpPr>
            <p:spPr>
              <a:xfrm>
                <a:off x="11259438" y="3446358"/>
                <a:ext cx="1761097"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Cloud</a:t>
                </a:r>
              </a:p>
            </p:txBody>
          </p:sp>
          <p:sp>
            <p:nvSpPr>
              <p:cNvPr id="109" name="TextBox 108"/>
              <p:cNvSpPr txBox="1"/>
              <p:nvPr/>
            </p:nvSpPr>
            <p:spPr>
              <a:xfrm>
                <a:off x="11047419" y="3894427"/>
                <a:ext cx="1761094"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On-premises</a:t>
                </a:r>
              </a:p>
            </p:txBody>
          </p:sp>
        </p:grpSp>
        <p:sp>
          <p:nvSpPr>
            <p:cNvPr id="99" name="TextBox 98"/>
            <p:cNvSpPr txBox="1"/>
            <p:nvPr/>
          </p:nvSpPr>
          <p:spPr>
            <a:xfrm>
              <a:off x="7800004" y="3247211"/>
              <a:ext cx="1744447" cy="763925"/>
            </a:xfrm>
            <a:prstGeom prst="rect">
              <a:avLst/>
            </a:prstGeom>
            <a:solidFill>
              <a:schemeClr val="bg1"/>
            </a:solidFill>
            <a:ln>
              <a:solidFill>
                <a:schemeClr val="accent3">
                  <a:lumMod val="20000"/>
                  <a:lumOff val="80000"/>
                </a:schemeClr>
              </a:solidFill>
            </a:ln>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Scheduled Refresh</a:t>
              </a:r>
            </a:p>
            <a:p>
              <a:pPr algn="ctr" defTabSz="912979" fontAlgn="base">
                <a:lnSpc>
                  <a:spcPct val="90000"/>
                </a:lnSpc>
                <a:spcBef>
                  <a:spcPct val="0"/>
                </a:spcBef>
                <a:spcAft>
                  <a:spcPts val="588"/>
                </a:spcAft>
              </a:pPr>
              <a:endPar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endParaRPr>
            </a:p>
            <a:p>
              <a:pPr algn="ctr" defTabSz="912979" fontAlgn="base">
                <a:lnSpc>
                  <a:spcPct val="90000"/>
                </a:lnSpc>
                <a:spcBef>
                  <a:spcPct val="0"/>
                </a:spcBef>
                <a:spcAft>
                  <a:spcPts val="588"/>
                </a:spcAft>
              </a:pPr>
              <a:r>
                <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Installed locally</a:t>
              </a:r>
            </a:p>
          </p:txBody>
        </p:sp>
        <p:sp>
          <p:nvSpPr>
            <p:cNvPr id="100" name="Freeform 5"/>
            <p:cNvSpPr>
              <a:spLocks noEditPoints="1"/>
            </p:cNvSpPr>
            <p:nvPr/>
          </p:nvSpPr>
          <p:spPr bwMode="auto">
            <a:xfrm>
              <a:off x="8526905" y="3477473"/>
              <a:ext cx="285048" cy="285158"/>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grpSp>
      <p:sp>
        <p:nvSpPr>
          <p:cNvPr id="114" name="Freeform 5"/>
          <p:cNvSpPr>
            <a:spLocks noEditPoints="1"/>
          </p:cNvSpPr>
          <p:nvPr/>
        </p:nvSpPr>
        <p:spPr bwMode="auto">
          <a:xfrm>
            <a:off x="8543317"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115" name="TextBox 114"/>
          <p:cNvSpPr txBox="1"/>
          <p:nvPr/>
        </p:nvSpPr>
        <p:spPr>
          <a:xfrm>
            <a:off x="8300202"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16" name="Freeform 5"/>
          <p:cNvSpPr>
            <a:spLocks noEditPoints="1"/>
          </p:cNvSpPr>
          <p:nvPr/>
        </p:nvSpPr>
        <p:spPr bwMode="auto">
          <a:xfrm>
            <a:off x="7895803"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117" name="TextBox 116"/>
          <p:cNvSpPr txBox="1"/>
          <p:nvPr/>
        </p:nvSpPr>
        <p:spPr>
          <a:xfrm>
            <a:off x="7649309"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18" name="Freeform 5"/>
          <p:cNvSpPr>
            <a:spLocks noEditPoints="1"/>
          </p:cNvSpPr>
          <p:nvPr/>
        </p:nvSpPr>
        <p:spPr bwMode="auto">
          <a:xfrm>
            <a:off x="9190831"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119" name="TextBox 118"/>
          <p:cNvSpPr txBox="1"/>
          <p:nvPr/>
        </p:nvSpPr>
        <p:spPr>
          <a:xfrm>
            <a:off x="8951095"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120" name="TextBox 119"/>
          <p:cNvSpPr txBox="1"/>
          <p:nvPr/>
        </p:nvSpPr>
        <p:spPr>
          <a:xfrm>
            <a:off x="6914106" y="3713134"/>
            <a:ext cx="1152447" cy="259328"/>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a:gradFill>
                  <a:gsLst>
                    <a:gs pos="2917">
                      <a:srgbClr val="000000"/>
                    </a:gs>
                    <a:gs pos="30000">
                      <a:srgbClr val="000000"/>
                    </a:gs>
                  </a:gsLst>
                  <a:lin ang="5400000" scaled="0"/>
                </a:gradFill>
              </a:rPr>
              <a:t>Personal Gateway</a:t>
            </a:r>
          </a:p>
        </p:txBody>
      </p:sp>
      <p:sp>
        <p:nvSpPr>
          <p:cNvPr id="65" name="TextBox 64"/>
          <p:cNvSpPr txBox="1"/>
          <p:nvPr/>
        </p:nvSpPr>
        <p:spPr>
          <a:xfrm>
            <a:off x="7609377" y="1144986"/>
            <a:ext cx="1376225" cy="634358"/>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a:gradFill>
                  <a:gsLst>
                    <a:gs pos="2917">
                      <a:srgbClr val="000000"/>
                    </a:gs>
                    <a:gs pos="30000">
                      <a:srgbClr val="000000"/>
                    </a:gs>
                  </a:gsLst>
                  <a:lin ang="5400000" scaled="0"/>
                </a:gradFill>
              </a:rPr>
              <a:t>Live Power BI Dashboards and Reports</a:t>
            </a:r>
          </a:p>
        </p:txBody>
      </p:sp>
    </p:spTree>
    <p:extLst>
      <p:ext uri="{BB962C8B-B14F-4D97-AF65-F5344CB8AC3E}">
        <p14:creationId xmlns:p14="http://schemas.microsoft.com/office/powerpoint/2010/main" val="8701091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815443" y="9056"/>
            <a:ext cx="9376557"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200">
                <a:solidFill>
                  <a:schemeClr val="tx1"/>
                </a:solidFill>
              </a:rPr>
              <a:t>Centralized data refresh with On-Premises Data Gateway</a:t>
            </a:r>
          </a:p>
          <a:p>
            <a:pPr marL="168275"/>
            <a:endParaRPr lang="en-US" sz="3600" b="1">
              <a:solidFill>
                <a:schemeClr val="tx1"/>
              </a:solidFill>
            </a:endParaRPr>
          </a:p>
          <a:p>
            <a:pPr marL="168275"/>
            <a:endParaRPr lang="en-IN" sz="3600">
              <a:solidFill>
                <a:schemeClr val="tx1"/>
              </a:solidFill>
            </a:endParaRPr>
          </a:p>
        </p:txBody>
      </p:sp>
      <p:sp>
        <p:nvSpPr>
          <p:cNvPr id="49" name="Rectangle 48"/>
          <p:cNvSpPr/>
          <p:nvPr/>
        </p:nvSpPr>
        <p:spPr>
          <a:xfrm>
            <a:off x="2871352" y="1154905"/>
            <a:ext cx="3935465" cy="5370701"/>
          </a:xfrm>
          <a:prstGeom prst="rect">
            <a:avLst/>
          </a:prstGeom>
        </p:spPr>
        <p:txBody>
          <a:bodyPr wrap="square">
            <a:spAutoFit/>
          </a:bodyPr>
          <a:lstStyle/>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IT departments can deploy and manage </a:t>
            </a:r>
            <a:r>
              <a:rPr lang="en-US" sz="2000" err="1">
                <a:latin typeface="+mj-lt"/>
                <a:ea typeface="Calibri" panose="020F0502020204030204" pitchFamily="34" charset="0"/>
                <a:cs typeface="Times New Roman" panose="02020603050405020304" pitchFamily="18" charset="0"/>
              </a:rPr>
              <a:t>on-premise</a:t>
            </a:r>
            <a:r>
              <a:rPr lang="en-US" sz="2000">
                <a:latin typeface="+mj-lt"/>
                <a:ea typeface="Calibri" panose="020F0502020204030204" pitchFamily="34" charset="0"/>
                <a:cs typeface="Times New Roman" panose="02020603050405020304" pitchFamily="18" charset="0"/>
              </a:rPr>
              <a:t> data access centrally </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BI governance: IT can monitor and audit usage</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Live, interactive query to on-premises data sources (e.g. SQL Server) and scheduled refresh</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One gateway for multiple cloud services and experiences: Power BI, </a:t>
            </a:r>
            <a:r>
              <a:rPr lang="en-US" sz="2000" err="1">
                <a:latin typeface="+mj-lt"/>
                <a:ea typeface="Calibri" panose="020F0502020204030204" pitchFamily="34" charset="0"/>
                <a:cs typeface="Times New Roman" panose="02020603050405020304" pitchFamily="18" charset="0"/>
              </a:rPr>
              <a:t>PowerApps</a:t>
            </a:r>
            <a:r>
              <a:rPr lang="en-US" sz="2000">
                <a:latin typeface="+mj-lt"/>
                <a:ea typeface="Calibri" panose="020F0502020204030204" pitchFamily="34" charset="0"/>
                <a:cs typeface="Times New Roman" panose="02020603050405020304" pitchFamily="18" charset="0"/>
              </a:rPr>
              <a:t>, Microsoft Flow, Azure Logic Apps</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Gateway recovery and restore features built-in</a:t>
            </a:r>
          </a:p>
          <a:p>
            <a:pPr lvl="1"/>
            <a:endParaRPr lang="en-US">
              <a:latin typeface="+mj-lt"/>
              <a:ea typeface="Calibri" panose="020F0502020204030204" pitchFamily="34" charset="0"/>
              <a:cs typeface="Times New Roman" panose="02020603050405020304" pitchFamily="18" charset="0"/>
            </a:endParaRP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1464" y="5522328"/>
            <a:ext cx="2816907" cy="1335672"/>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0" y="657643"/>
            <a:ext cx="2787733" cy="3872536"/>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5" name="Group 64"/>
          <p:cNvGrpSpPr>
            <a:grpSpLocks noChangeAspect="1"/>
          </p:cNvGrpSpPr>
          <p:nvPr/>
        </p:nvGrpSpPr>
        <p:grpSpPr>
          <a:xfrm>
            <a:off x="6381828" y="1287559"/>
            <a:ext cx="5766056" cy="3819280"/>
            <a:chOff x="6071720" y="1197864"/>
            <a:chExt cx="6119944" cy="4021531"/>
          </a:xfrm>
        </p:grpSpPr>
        <p:sp>
          <p:nvSpPr>
            <p:cNvPr id="66" name="Oval 65"/>
            <p:cNvSpPr/>
            <p:nvPr/>
          </p:nvSpPr>
          <p:spPr bwMode="auto">
            <a:xfrm>
              <a:off x="9441855" y="3602627"/>
              <a:ext cx="270124" cy="2701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err="1">
                <a:solidFill>
                  <a:srgbClr val="FFFFFF"/>
                </a:solidFill>
                <a:latin typeface="Segoe UI Light"/>
                <a:ea typeface="Segoe UI" pitchFamily="34" charset="0"/>
                <a:cs typeface="Segoe UI" pitchFamily="34" charset="0"/>
              </a:endParaRPr>
            </a:p>
          </p:txBody>
        </p:sp>
        <p:grpSp>
          <p:nvGrpSpPr>
            <p:cNvPr id="67" name="Group 66"/>
            <p:cNvGrpSpPr>
              <a:grpSpLocks noChangeAspect="1"/>
            </p:cNvGrpSpPr>
            <p:nvPr/>
          </p:nvGrpSpPr>
          <p:grpSpPr>
            <a:xfrm>
              <a:off x="6071720" y="1197864"/>
              <a:ext cx="6119944" cy="4021531"/>
              <a:chOff x="4840804" y="424970"/>
              <a:chExt cx="8319355" cy="5468177"/>
            </a:xfrm>
          </p:grpSpPr>
          <p:cxnSp>
            <p:nvCxnSpPr>
              <p:cNvPr id="76" name="Straight Connector 75"/>
              <p:cNvCxnSpPr/>
              <p:nvPr/>
            </p:nvCxnSpPr>
            <p:spPr>
              <a:xfrm flipV="1">
                <a:off x="5853844" y="3755734"/>
                <a:ext cx="7256212" cy="2370"/>
              </a:xfrm>
              <a:prstGeom prst="line">
                <a:avLst/>
              </a:prstGeom>
              <a:noFill/>
              <a:ln w="15875" cap="flat" cmpd="sng" algn="ctr">
                <a:solidFill>
                  <a:srgbClr val="505050"/>
                </a:solidFill>
                <a:prstDash val="dash"/>
                <a:headEnd type="none"/>
                <a:tailEnd type="none"/>
              </a:ln>
              <a:effectLst/>
            </p:spPr>
          </p:cxnSp>
          <p:grpSp>
            <p:nvGrpSpPr>
              <p:cNvPr id="77" name="Group 76"/>
              <p:cNvGrpSpPr/>
              <p:nvPr/>
            </p:nvGrpSpPr>
            <p:grpSpPr>
              <a:xfrm>
                <a:off x="10869544" y="4603185"/>
                <a:ext cx="1470144" cy="865250"/>
                <a:chOff x="2927465" y="5236638"/>
                <a:chExt cx="1470768" cy="865618"/>
              </a:xfrm>
            </p:grpSpPr>
            <p:sp>
              <p:nvSpPr>
                <p:cNvPr id="84" name="Freeform 83"/>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85" name="Freeform 84"/>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86" name="Freeform 85"/>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87" name="Freeform 86"/>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grpSp>
          <p:sp>
            <p:nvSpPr>
              <p:cNvPr id="78" name="Freeform 77"/>
              <p:cNvSpPr>
                <a:spLocks/>
              </p:cNvSpPr>
              <p:nvPr/>
            </p:nvSpPr>
            <p:spPr bwMode="auto">
              <a:xfrm>
                <a:off x="5903946" y="5783312"/>
                <a:ext cx="7256213" cy="109835"/>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79" name="Freeform 78"/>
              <p:cNvSpPr>
                <a:spLocks noChangeAspect="1"/>
              </p:cNvSpPr>
              <p:nvPr/>
            </p:nvSpPr>
            <p:spPr bwMode="auto">
              <a:xfrm>
                <a:off x="9223542" y="424970"/>
                <a:ext cx="3562140" cy="2188888"/>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40000"/>
                  <a:lumOff val="6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3330" fontAlgn="base">
                  <a:spcBef>
                    <a:spcPct val="0"/>
                  </a:spcBef>
                  <a:spcAft>
                    <a:spcPct val="0"/>
                  </a:spcAft>
                </a:pPr>
                <a:endParaRPr lang="en-US" sz="2353">
                  <a:solidFill>
                    <a:srgbClr val="000000"/>
                  </a:solidFill>
                  <a:ea typeface="MS PGothic" charset="0"/>
                  <a:cs typeface="MS PGothic" charset="0"/>
                </a:endParaRPr>
              </a:p>
            </p:txBody>
          </p:sp>
          <p:sp>
            <p:nvSpPr>
              <p:cNvPr id="80" name="Freeform 79"/>
              <p:cNvSpPr>
                <a:spLocks noChangeAspect="1"/>
              </p:cNvSpPr>
              <p:nvPr/>
            </p:nvSpPr>
            <p:spPr bwMode="auto">
              <a:xfrm>
                <a:off x="9661060" y="1294762"/>
                <a:ext cx="3430209" cy="1552333"/>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3">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defRPr/>
                </a:pPr>
                <a:endParaRPr lang="en-US" sz="2353">
                  <a:solidFill>
                    <a:srgbClr val="000000"/>
                  </a:solidFill>
                </a:endParaRPr>
              </a:p>
            </p:txBody>
          </p:sp>
          <p:sp>
            <p:nvSpPr>
              <p:cNvPr id="81" name="TextBox 80"/>
              <p:cNvSpPr txBox="1"/>
              <p:nvPr/>
            </p:nvSpPr>
            <p:spPr>
              <a:xfrm>
                <a:off x="4840804" y="1188916"/>
                <a:ext cx="2334211" cy="793195"/>
              </a:xfrm>
              <a:prstGeom prst="rect">
                <a:avLst/>
              </a:prstGeom>
              <a:noFill/>
            </p:spPr>
            <p:txBody>
              <a:bodyPr wrap="square" lIns="179208" tIns="143366" rIns="179208" bIns="143366" rtlCol="0">
                <a:noAutofit/>
              </a:bodyPr>
              <a:lstStyle/>
              <a:p>
                <a:pPr marL="335951" indent="-335951" defTabSz="912979" fontAlgn="base">
                  <a:lnSpc>
                    <a:spcPct val="90000"/>
                  </a:lnSpc>
                  <a:spcBef>
                    <a:spcPct val="0"/>
                  </a:spcBef>
                  <a:spcAft>
                    <a:spcPts val="588"/>
                  </a:spcAft>
                  <a:buFont typeface="Wingdings 3" panose="05040102010807070707" pitchFamily="18" charset="2"/>
                  <a:buChar char="Æ"/>
                </a:pPr>
                <a:endParaRPr lang="en-US" sz="2353" err="1">
                  <a:gradFill>
                    <a:gsLst>
                      <a:gs pos="2917">
                        <a:srgbClr val="000000"/>
                      </a:gs>
                      <a:gs pos="30000">
                        <a:srgbClr val="000000"/>
                      </a:gs>
                    </a:gsLst>
                    <a:lin ang="5400000" scaled="0"/>
                  </a:gradFill>
                  <a:ea typeface="MS PGothic" charset="0"/>
                </a:endParaRPr>
              </a:p>
            </p:txBody>
          </p:sp>
          <p:sp>
            <p:nvSpPr>
              <p:cNvPr id="82" name="TextBox 81"/>
              <p:cNvSpPr txBox="1"/>
              <p:nvPr/>
            </p:nvSpPr>
            <p:spPr>
              <a:xfrm>
                <a:off x="11259438" y="3446358"/>
                <a:ext cx="1761097"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Cloud</a:t>
                </a:r>
              </a:p>
            </p:txBody>
          </p:sp>
          <p:sp>
            <p:nvSpPr>
              <p:cNvPr id="83" name="TextBox 82"/>
              <p:cNvSpPr txBox="1"/>
              <p:nvPr/>
            </p:nvSpPr>
            <p:spPr>
              <a:xfrm>
                <a:off x="11047419" y="3894427"/>
                <a:ext cx="1761094" cy="194999"/>
              </a:xfrm>
              <a:prstGeom prst="rect">
                <a:avLst/>
              </a:prstGeom>
              <a:noFill/>
            </p:spPr>
            <p:txBody>
              <a:bodyPr wrap="square" lIns="179259" tIns="143407" rIns="179259" bIns="143407" rtlCol="0" anchor="ctr">
                <a:noAutofit/>
              </a:bodyPr>
              <a:lstStyle/>
              <a:p>
                <a:pPr defTabSz="914192">
                  <a:lnSpc>
                    <a:spcPct val="90000"/>
                  </a:lnSpc>
                  <a:spcAft>
                    <a:spcPts val="588"/>
                  </a:spcAft>
                  <a:defRPr/>
                </a:pPr>
                <a:r>
                  <a:rPr lang="en-US" sz="1175" kern="0">
                    <a:gradFill>
                      <a:gsLst>
                        <a:gs pos="2917">
                          <a:srgbClr val="000000"/>
                        </a:gs>
                        <a:gs pos="30000">
                          <a:srgbClr val="000000"/>
                        </a:gs>
                      </a:gsLst>
                      <a:lin ang="5400000" scaled="0"/>
                    </a:gradFill>
                  </a:rPr>
                  <a:t>On-premises</a:t>
                </a:r>
              </a:p>
            </p:txBody>
          </p:sp>
        </p:grpSp>
        <p:sp>
          <p:nvSpPr>
            <p:cNvPr id="72" name="TextBox 71"/>
            <p:cNvSpPr txBox="1"/>
            <p:nvPr/>
          </p:nvSpPr>
          <p:spPr>
            <a:xfrm>
              <a:off x="7800004" y="3247211"/>
              <a:ext cx="1817627" cy="763925"/>
            </a:xfrm>
            <a:prstGeom prst="rect">
              <a:avLst/>
            </a:prstGeom>
            <a:solidFill>
              <a:schemeClr val="bg1"/>
            </a:solidFill>
            <a:ln>
              <a:solidFill>
                <a:schemeClr val="accent3">
                  <a:lumMod val="20000"/>
                  <a:lumOff val="80000"/>
                </a:schemeClr>
              </a:solidFill>
            </a:ln>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Scheduled Refresh</a:t>
              </a:r>
            </a:p>
            <a:p>
              <a:pPr algn="ctr" defTabSz="912979" fontAlgn="base">
                <a:lnSpc>
                  <a:spcPct val="90000"/>
                </a:lnSpc>
                <a:spcBef>
                  <a:spcPct val="0"/>
                </a:spcBef>
                <a:spcAft>
                  <a:spcPts val="588"/>
                </a:spcAft>
              </a:pPr>
              <a:endPar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endParaRPr>
            </a:p>
            <a:p>
              <a:pPr algn="ctr" defTabSz="912979" fontAlgn="base">
                <a:lnSpc>
                  <a:spcPct val="90000"/>
                </a:lnSpc>
                <a:spcBef>
                  <a:spcPct val="0"/>
                </a:spcBef>
                <a:spcAft>
                  <a:spcPts val="588"/>
                </a:spcAft>
              </a:pPr>
              <a:r>
                <a:rPr lang="en-US" sz="1176">
                  <a:gradFill>
                    <a:gsLst>
                      <a:gs pos="87611">
                        <a:srgbClr val="00BCF2"/>
                      </a:gs>
                      <a:gs pos="72000">
                        <a:srgbClr val="00BCF2"/>
                      </a:gs>
                    </a:gsLst>
                    <a:lin ang="5400000" scaled="0"/>
                  </a:gradFill>
                  <a:latin typeface="Segoe UI Semibold" panose="020B0702040204020203" pitchFamily="34" charset="0"/>
                  <a:ea typeface="MS PGothic" charset="0"/>
                  <a:cs typeface="Segoe UI Semibold" panose="020B0702040204020203" pitchFamily="34" charset="0"/>
                </a:rPr>
                <a:t>Manage &amp; Monitor</a:t>
              </a:r>
            </a:p>
          </p:txBody>
        </p:sp>
        <p:sp>
          <p:nvSpPr>
            <p:cNvPr id="75" name="Freeform 5"/>
            <p:cNvSpPr>
              <a:spLocks noEditPoints="1"/>
            </p:cNvSpPr>
            <p:nvPr/>
          </p:nvSpPr>
          <p:spPr bwMode="auto">
            <a:xfrm>
              <a:off x="8526905" y="3477473"/>
              <a:ext cx="285048" cy="285158"/>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US" sz="1961" b="1" kern="0">
                <a:solidFill>
                  <a:srgbClr val="FFFFFF"/>
                </a:solidFill>
                <a:latin typeface="Segoe UI Light"/>
                <a:ea typeface="Segoe UI" pitchFamily="34" charset="0"/>
                <a:cs typeface="Segoe UI" pitchFamily="34" charset="0"/>
              </a:endParaRPr>
            </a:p>
          </p:txBody>
        </p:sp>
      </p:grpSp>
      <p:sp>
        <p:nvSpPr>
          <p:cNvPr id="88" name="Freeform 5"/>
          <p:cNvSpPr>
            <a:spLocks noEditPoints="1"/>
          </p:cNvSpPr>
          <p:nvPr/>
        </p:nvSpPr>
        <p:spPr bwMode="auto">
          <a:xfrm>
            <a:off x="8546301"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89" name="TextBox 88"/>
          <p:cNvSpPr txBox="1"/>
          <p:nvPr/>
        </p:nvSpPr>
        <p:spPr>
          <a:xfrm>
            <a:off x="8303186"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90" name="Freeform 5"/>
          <p:cNvSpPr>
            <a:spLocks noEditPoints="1"/>
          </p:cNvSpPr>
          <p:nvPr/>
        </p:nvSpPr>
        <p:spPr bwMode="auto">
          <a:xfrm>
            <a:off x="7898787"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91" name="TextBox 90"/>
          <p:cNvSpPr txBox="1"/>
          <p:nvPr/>
        </p:nvSpPr>
        <p:spPr>
          <a:xfrm>
            <a:off x="7652293"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92" name="Freeform 5"/>
          <p:cNvSpPr>
            <a:spLocks noEditPoints="1"/>
          </p:cNvSpPr>
          <p:nvPr/>
        </p:nvSpPr>
        <p:spPr bwMode="auto">
          <a:xfrm>
            <a:off x="9193815" y="4102197"/>
            <a:ext cx="415685" cy="448082"/>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p:spPr>
        <p:txBody>
          <a:bodyPr vert="horz" wrap="square" lIns="87843" tIns="43920" rIns="87843" bIns="43920" numCol="1" anchor="t" anchorCtr="0" compatLnSpc="1">
            <a:prstTxWarp prst="textNoShape">
              <a:avLst/>
            </a:prstTxWarp>
          </a:bodyPr>
          <a:lstStyle/>
          <a:p>
            <a:pPr defTabSz="895838">
              <a:defRPr/>
            </a:pPr>
            <a:endParaRPr lang="en-US" sz="1729" kern="0">
              <a:solidFill>
                <a:srgbClr val="505050"/>
              </a:solidFill>
            </a:endParaRPr>
          </a:p>
        </p:txBody>
      </p:sp>
      <p:sp>
        <p:nvSpPr>
          <p:cNvPr id="93" name="TextBox 92"/>
          <p:cNvSpPr txBox="1"/>
          <p:nvPr/>
        </p:nvSpPr>
        <p:spPr>
          <a:xfrm>
            <a:off x="8954079" y="4540362"/>
            <a:ext cx="936265" cy="590888"/>
          </a:xfrm>
          <a:prstGeom prst="rect">
            <a:avLst/>
          </a:prstGeom>
          <a:noFill/>
        </p:spPr>
        <p:txBody>
          <a:bodyPr wrap="square" lIns="179208" tIns="143366" rIns="179208" bIns="143366" rtlCol="0" anchor="ctr">
            <a:noAutofit/>
          </a:bodyPr>
          <a:lstStyle/>
          <a:p>
            <a:pPr algn="ctr" defTabSz="912979" fontAlgn="base">
              <a:lnSpc>
                <a:spcPct val="90000"/>
              </a:lnSpc>
              <a:spcBef>
                <a:spcPct val="0"/>
              </a:spcBef>
              <a:spcAft>
                <a:spcPts val="588"/>
              </a:spcAft>
            </a:pPr>
            <a:r>
              <a:rPr lang="en-US" sz="1176">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 Source	</a:t>
            </a:r>
          </a:p>
        </p:txBody>
      </p:sp>
      <p:sp>
        <p:nvSpPr>
          <p:cNvPr id="94" name="TextBox 93"/>
          <p:cNvSpPr txBox="1"/>
          <p:nvPr/>
        </p:nvSpPr>
        <p:spPr>
          <a:xfrm>
            <a:off x="6764975" y="3649347"/>
            <a:ext cx="1278569" cy="583792"/>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a:gradFill>
                  <a:gsLst>
                    <a:gs pos="2917">
                      <a:srgbClr val="000000"/>
                    </a:gs>
                    <a:gs pos="30000">
                      <a:srgbClr val="000000"/>
                    </a:gs>
                  </a:gsLst>
                  <a:lin ang="5400000" scaled="0"/>
                </a:gradFill>
              </a:rPr>
              <a:t>On-Premises Data Gateway</a:t>
            </a:r>
          </a:p>
        </p:txBody>
      </p:sp>
      <p:sp>
        <p:nvSpPr>
          <p:cNvPr id="95" name="TextBox 94"/>
          <p:cNvSpPr txBox="1"/>
          <p:nvPr/>
        </p:nvSpPr>
        <p:spPr>
          <a:xfrm>
            <a:off x="10239182" y="1497494"/>
            <a:ext cx="1182661" cy="447287"/>
          </a:xfrm>
          <a:prstGeom prst="rect">
            <a:avLst/>
          </a:prstGeom>
          <a:noFill/>
          <a:ln>
            <a:noFill/>
          </a:ln>
        </p:spPr>
        <p:txBody>
          <a:bodyPr wrap="square" lIns="179259" tIns="143407" rIns="179259" bIns="143407" rtlCol="0" anchor="ctr">
            <a:noAutofit/>
          </a:bodyPr>
          <a:lstStyle/>
          <a:p>
            <a:pPr algn="ctr" defTabSz="914192">
              <a:lnSpc>
                <a:spcPct val="90000"/>
              </a:lnSpc>
              <a:spcAft>
                <a:spcPts val="588"/>
              </a:spcAft>
              <a:defRPr/>
            </a:pPr>
            <a:r>
              <a:rPr lang="en-US" sz="1200" kern="0" err="1">
                <a:solidFill>
                  <a:schemeClr val="bg2">
                    <a:lumMod val="75000"/>
                  </a:schemeClr>
                </a:solidFill>
              </a:rPr>
              <a:t>PowerApps</a:t>
            </a:r>
            <a:endParaRPr lang="en-US" sz="1200" kern="0">
              <a:solidFill>
                <a:schemeClr val="bg2">
                  <a:lumMod val="75000"/>
                </a:schemeClr>
              </a:solidFill>
            </a:endParaRPr>
          </a:p>
        </p:txBody>
      </p:sp>
      <p:sp>
        <p:nvSpPr>
          <p:cNvPr id="121" name="TextBox 120"/>
          <p:cNvSpPr txBox="1"/>
          <p:nvPr/>
        </p:nvSpPr>
        <p:spPr>
          <a:xfrm>
            <a:off x="10010036" y="2017056"/>
            <a:ext cx="1371600" cy="431298"/>
          </a:xfrm>
          <a:prstGeom prst="rect">
            <a:avLst/>
          </a:prstGeom>
          <a:noFill/>
          <a:ln>
            <a:noFill/>
          </a:ln>
        </p:spPr>
        <p:txBody>
          <a:bodyPr wrap="square" lIns="179259" tIns="143407" rIns="179259" bIns="143407" rtlCol="0" anchor="ctr">
            <a:noAutofit/>
          </a:bodyPr>
          <a:lstStyle/>
          <a:p>
            <a:pPr algn="ctr" defTabSz="914192">
              <a:lnSpc>
                <a:spcPct val="90000"/>
              </a:lnSpc>
              <a:spcAft>
                <a:spcPts val="588"/>
              </a:spcAft>
              <a:defRPr/>
            </a:pPr>
            <a:r>
              <a:rPr lang="en-US" sz="1200" kern="0">
                <a:solidFill>
                  <a:schemeClr val="bg2">
                    <a:lumMod val="75000"/>
                  </a:schemeClr>
                </a:solidFill>
              </a:rPr>
              <a:t>Microsoft Flow</a:t>
            </a:r>
          </a:p>
        </p:txBody>
      </p:sp>
      <p:sp>
        <p:nvSpPr>
          <p:cNvPr id="122" name="TextBox 121"/>
          <p:cNvSpPr txBox="1"/>
          <p:nvPr/>
        </p:nvSpPr>
        <p:spPr>
          <a:xfrm>
            <a:off x="10372752" y="2527905"/>
            <a:ext cx="1636998" cy="404347"/>
          </a:xfrm>
          <a:prstGeom prst="rect">
            <a:avLst/>
          </a:prstGeom>
          <a:noFill/>
          <a:ln>
            <a:noFill/>
          </a:ln>
        </p:spPr>
        <p:txBody>
          <a:bodyPr wrap="square" lIns="179259" tIns="143407" rIns="179259" bIns="143407" rtlCol="0" anchor="ctr">
            <a:noAutofit/>
          </a:bodyPr>
          <a:lstStyle/>
          <a:p>
            <a:pPr algn="ctr" defTabSz="914192">
              <a:lnSpc>
                <a:spcPct val="90000"/>
              </a:lnSpc>
              <a:spcAft>
                <a:spcPts val="588"/>
              </a:spcAft>
              <a:defRPr/>
            </a:pPr>
            <a:r>
              <a:rPr lang="en-US" sz="1200" kern="0">
                <a:solidFill>
                  <a:schemeClr val="bg2">
                    <a:lumMod val="75000"/>
                  </a:schemeClr>
                </a:solidFill>
              </a:rPr>
              <a:t>Azure Logic Apps</a:t>
            </a:r>
          </a:p>
        </p:txBody>
      </p:sp>
      <p:pic>
        <p:nvPicPr>
          <p:cNvPr id="123" name="Picture 122"/>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7846739" y="1787628"/>
            <a:ext cx="2103121" cy="1192464"/>
          </a:xfrm>
          <a:prstGeom prst="rect">
            <a:avLst/>
          </a:prstGeom>
          <a:ln>
            <a:noFill/>
          </a:ln>
          <a:effectLst>
            <a:outerShdw blurRad="292100" dist="139700" dir="2700000" algn="tl" rotWithShape="0">
              <a:srgbClr val="333333">
                <a:alpha val="65000"/>
              </a:srgbClr>
            </a:outerShdw>
          </a:effectLst>
        </p:spPr>
      </p:pic>
      <p:sp>
        <p:nvSpPr>
          <p:cNvPr id="124" name="TextBox 123"/>
          <p:cNvSpPr txBox="1"/>
          <p:nvPr/>
        </p:nvSpPr>
        <p:spPr>
          <a:xfrm>
            <a:off x="6651926" y="2040245"/>
            <a:ext cx="1376225" cy="634358"/>
          </a:xfrm>
          <a:prstGeom prst="rect">
            <a:avLst/>
          </a:prstGeom>
          <a:noFill/>
        </p:spPr>
        <p:txBody>
          <a:bodyPr wrap="square" lIns="179259" tIns="143407" rIns="179259" bIns="143407" rtlCol="0" anchor="ctr">
            <a:noAutofit/>
          </a:bodyPr>
          <a:lstStyle/>
          <a:p>
            <a:pPr algn="ctr" defTabSz="914192">
              <a:lnSpc>
                <a:spcPct val="90000"/>
              </a:lnSpc>
              <a:spcAft>
                <a:spcPts val="588"/>
              </a:spcAft>
              <a:defRPr/>
            </a:pPr>
            <a:r>
              <a:rPr lang="en-US" sz="1175" kern="0">
                <a:gradFill>
                  <a:gsLst>
                    <a:gs pos="2917">
                      <a:srgbClr val="000000"/>
                    </a:gs>
                    <a:gs pos="30000">
                      <a:srgbClr val="000000"/>
                    </a:gs>
                  </a:gsLst>
                  <a:lin ang="5400000" scaled="0"/>
                </a:gradFill>
              </a:rPr>
              <a:t>Live Power BI Dashboards and Reports</a:t>
            </a:r>
          </a:p>
        </p:txBody>
      </p:sp>
    </p:spTree>
    <p:extLst>
      <p:ext uri="{BB962C8B-B14F-4D97-AF65-F5344CB8AC3E}">
        <p14:creationId xmlns:p14="http://schemas.microsoft.com/office/powerpoint/2010/main" val="14661241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0"/>
          <p:cNvSpPr txBox="1">
            <a:spLocks/>
          </p:cNvSpPr>
          <p:nvPr/>
        </p:nvSpPr>
        <p:spPr>
          <a:xfrm>
            <a:off x="2982006" y="9056"/>
            <a:ext cx="9092764"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en-US" sz="3600">
                <a:solidFill>
                  <a:schemeClr val="tx1"/>
                </a:solidFill>
              </a:rPr>
              <a:t>Easy to use and drive adoption</a:t>
            </a:r>
          </a:p>
          <a:p>
            <a:pPr marL="168275"/>
            <a:endParaRPr lang="en-US" sz="3600">
              <a:solidFill>
                <a:schemeClr val="tx1"/>
              </a:solidFill>
            </a:endParaRPr>
          </a:p>
          <a:p>
            <a:pPr marL="168275"/>
            <a:endParaRPr lang="en-US" sz="3600" b="1">
              <a:solidFill>
                <a:schemeClr val="tx1"/>
              </a:solidFill>
            </a:endParaRPr>
          </a:p>
          <a:p>
            <a:pPr marL="168275"/>
            <a:endParaRPr lang="en-IN" sz="3600">
              <a:solidFill>
                <a:schemeClr val="tx1"/>
              </a:solidFill>
            </a:endParaRPr>
          </a:p>
        </p:txBody>
      </p:sp>
      <p:sp>
        <p:nvSpPr>
          <p:cNvPr id="49" name="Rectangle 48"/>
          <p:cNvSpPr/>
          <p:nvPr/>
        </p:nvSpPr>
        <p:spPr>
          <a:xfrm>
            <a:off x="2861164" y="1024112"/>
            <a:ext cx="5367886" cy="4832092"/>
          </a:xfrm>
          <a:prstGeom prst="rect">
            <a:avLst/>
          </a:prstGeom>
        </p:spPr>
        <p:txBody>
          <a:bodyPr wrap="square">
            <a:spAutoFit/>
          </a:bodyPr>
          <a:lstStyle/>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Easy to use</a:t>
            </a:r>
          </a:p>
          <a:p>
            <a:pPr marL="800100" lvl="1" indent="-342900">
              <a:spcBef>
                <a:spcPts val="600"/>
              </a:spcBef>
              <a:spcAft>
                <a:spcPts val="600"/>
              </a:spcAft>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For end users: intuitive and interactive dashboards and reports</a:t>
            </a:r>
          </a:p>
          <a:p>
            <a:pPr marL="800100" lvl="1" indent="-342900">
              <a:spcBef>
                <a:spcPts val="600"/>
              </a:spcBef>
              <a:spcAft>
                <a:spcPts val="600"/>
              </a:spcAft>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For BI analysts: familiar tools to create data models and reports</a:t>
            </a:r>
          </a:p>
          <a:p>
            <a:pPr marL="800100" lvl="1" indent="-342900">
              <a:spcBef>
                <a:spcPts val="600"/>
              </a:spcBef>
              <a:spcAft>
                <a:spcPts val="600"/>
              </a:spcAft>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For IT: Administering Power BI tenants, users, and groups is the same as in Office 365</a:t>
            </a:r>
          </a:p>
          <a:p>
            <a:pPr marL="342900" indent="-342900">
              <a:spcBef>
                <a:spcPts val="600"/>
              </a:spcBef>
              <a:spcAft>
                <a:spcPts val="600"/>
              </a:spcAft>
              <a:buFont typeface="Symbol" panose="05050102010706020507" pitchFamily="18" charset="2"/>
              <a:buChar char=""/>
            </a:pPr>
            <a:r>
              <a:rPr lang="en-US" sz="2000">
                <a:latin typeface="+mj-lt"/>
                <a:ea typeface="Calibri" panose="020F0502020204030204" pitchFamily="34" charset="0"/>
                <a:cs typeface="Times New Roman" panose="02020603050405020304" pitchFamily="18" charset="0"/>
              </a:rPr>
              <a:t>Easy to share</a:t>
            </a:r>
          </a:p>
          <a:p>
            <a:pPr marL="800100" lvl="1" indent="-342900">
              <a:spcBef>
                <a:spcPts val="600"/>
              </a:spcBef>
              <a:spcAft>
                <a:spcPts val="600"/>
              </a:spcAft>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End users can easily share dashboards and reports, inside and outside the organization</a:t>
            </a:r>
          </a:p>
          <a:p>
            <a:pPr marL="800100" lvl="1" indent="-342900">
              <a:spcBef>
                <a:spcPts val="600"/>
              </a:spcBef>
              <a:spcAft>
                <a:spcPts val="600"/>
              </a:spcAft>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Collaborate with others in a group workspace</a:t>
            </a:r>
          </a:p>
          <a:p>
            <a:pPr marL="800100" lvl="1" indent="-342900">
              <a:spcBef>
                <a:spcPts val="600"/>
              </a:spcBef>
              <a:spcAft>
                <a:spcPts val="600"/>
              </a:spcAft>
              <a:buFont typeface="Courier New" panose="02070309020205020404" pitchFamily="49" charset="0"/>
              <a:buChar char="o"/>
            </a:pPr>
            <a:r>
              <a:rPr lang="en-US">
                <a:latin typeface="+mj-lt"/>
                <a:ea typeface="Calibri" panose="020F0502020204030204" pitchFamily="34" charset="0"/>
                <a:cs typeface="Times New Roman" panose="02020603050405020304" pitchFamily="18" charset="0"/>
              </a:rPr>
              <a:t>Create content packs and publish them to your organization</a:t>
            </a:r>
          </a:p>
        </p:txBody>
      </p:sp>
      <p:sp>
        <p:nvSpPr>
          <p:cNvPr id="37" name="Rectangle 15"/>
          <p:cNvSpPr/>
          <p:nvPr/>
        </p:nvSpPr>
        <p:spPr bwMode="auto">
          <a:xfrm>
            <a:off x="2" y="487"/>
            <a:ext cx="2815441"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2" y="487"/>
            <a:ext cx="2815441"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en-US"/>
              <a:t>IT challenges</a:t>
            </a:r>
          </a:p>
        </p:txBody>
      </p:sp>
      <p:grpSp>
        <p:nvGrpSpPr>
          <p:cNvPr id="39" name="Group 38"/>
          <p:cNvGrpSpPr/>
          <p:nvPr/>
        </p:nvGrpSpPr>
        <p:grpSpPr>
          <a:xfrm>
            <a:off x="151322" y="867914"/>
            <a:ext cx="2636411" cy="548640"/>
            <a:chOff x="179032" y="1123407"/>
            <a:chExt cx="2636411" cy="548640"/>
          </a:xfrm>
        </p:grpSpPr>
        <p:sp>
          <p:nvSpPr>
            <p:cNvPr id="4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ement of BI systems</a:t>
              </a:r>
              <a:endParaRPr lang="en-US" sz="1200" b="1" i="1">
                <a:solidFill>
                  <a:srgbClr val="F2C812"/>
                </a:solidFill>
                <a:cs typeface="Segoe UI Light" panose="020B0502040204020203" pitchFamily="34" charset="0"/>
              </a:endParaRPr>
            </a:p>
          </p:txBody>
        </p:sp>
      </p:grpSp>
      <p:grpSp>
        <p:nvGrpSpPr>
          <p:cNvPr id="42" name="Group 41"/>
          <p:cNvGrpSpPr/>
          <p:nvPr/>
        </p:nvGrpSpPr>
        <p:grpSpPr>
          <a:xfrm>
            <a:off x="151322" y="1832204"/>
            <a:ext cx="2636411" cy="548640"/>
            <a:chOff x="212649" y="1959486"/>
            <a:chExt cx="2636411" cy="548640"/>
          </a:xfrm>
        </p:grpSpPr>
        <p:sp>
          <p:nvSpPr>
            <p:cNvPr id="43" name="Oval 147"/>
            <p:cNvSpPr/>
            <p:nvPr/>
          </p:nvSpPr>
          <p:spPr bwMode="auto">
            <a:xfrm>
              <a:off x="212649" y="1959486"/>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145"/>
            <p:cNvSpPr/>
            <p:nvPr/>
          </p:nvSpPr>
          <p:spPr bwMode="auto">
            <a:xfrm>
              <a:off x="838665" y="2042226"/>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Variety of data sources</a:t>
              </a:r>
              <a:endParaRPr lang="en-US" sz="1200" b="1" i="1">
                <a:solidFill>
                  <a:srgbClr val="F2C812"/>
                </a:solidFill>
                <a:cs typeface="Segoe UI Light" panose="020B0502040204020203" pitchFamily="34" charset="0"/>
              </a:endParaRPr>
            </a:p>
          </p:txBody>
        </p:sp>
      </p:grpSp>
      <p:grpSp>
        <p:nvGrpSpPr>
          <p:cNvPr id="45" name="Group 44"/>
          <p:cNvGrpSpPr/>
          <p:nvPr/>
        </p:nvGrpSpPr>
        <p:grpSpPr>
          <a:xfrm>
            <a:off x="151322" y="2796494"/>
            <a:ext cx="2636411" cy="548640"/>
            <a:chOff x="179032" y="1123407"/>
            <a:chExt cx="2636411" cy="548640"/>
          </a:xfrm>
        </p:grpSpPr>
        <p:sp>
          <p:nvSpPr>
            <p:cNvPr id="46"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Managing data in the cloud</a:t>
              </a:r>
              <a:endParaRPr lang="en-US" sz="1200" b="1" i="1">
                <a:solidFill>
                  <a:srgbClr val="F2C812"/>
                </a:solidFill>
                <a:cs typeface="Segoe UI Light" panose="020B0502040204020203" pitchFamily="34" charset="0"/>
              </a:endParaRPr>
            </a:p>
          </p:txBody>
        </p:sp>
      </p:grpSp>
      <p:grpSp>
        <p:nvGrpSpPr>
          <p:cNvPr id="48" name="Group 47"/>
          <p:cNvGrpSpPr/>
          <p:nvPr/>
        </p:nvGrpSpPr>
        <p:grpSpPr>
          <a:xfrm>
            <a:off x="151322" y="3760784"/>
            <a:ext cx="2636411" cy="548640"/>
            <a:chOff x="179032" y="1123407"/>
            <a:chExt cx="2636411" cy="548640"/>
          </a:xfrm>
        </p:grpSpPr>
        <p:sp>
          <p:nvSpPr>
            <p:cNvPr id="50"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Integration with existing environment</a:t>
              </a:r>
              <a:endParaRPr lang="en-US" sz="1200" b="1" i="1">
                <a:solidFill>
                  <a:srgbClr val="F2C812"/>
                </a:solidFill>
                <a:cs typeface="Segoe UI Light" panose="020B0502040204020203" pitchFamily="34" charset="0"/>
              </a:endParaRPr>
            </a:p>
          </p:txBody>
        </p:sp>
      </p:grpSp>
      <p:grpSp>
        <p:nvGrpSpPr>
          <p:cNvPr id="52" name="Group 51"/>
          <p:cNvGrpSpPr/>
          <p:nvPr/>
        </p:nvGrpSpPr>
        <p:grpSpPr>
          <a:xfrm>
            <a:off x="132176" y="4725074"/>
            <a:ext cx="2655557" cy="548640"/>
            <a:chOff x="159886" y="1123407"/>
            <a:chExt cx="2655557" cy="548640"/>
          </a:xfrm>
        </p:grpSpPr>
        <p:sp>
          <p:nvSpPr>
            <p:cNvPr id="54" name="Oval 147"/>
            <p:cNvSpPr/>
            <p:nvPr/>
          </p:nvSpPr>
          <p:spPr bwMode="auto">
            <a:xfrm>
              <a:off x="159886"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Keeping data current</a:t>
              </a:r>
              <a:endParaRPr lang="en-US" sz="1200" b="1" i="1">
                <a:solidFill>
                  <a:srgbClr val="F2C812"/>
                </a:solidFill>
                <a:cs typeface="Segoe UI Light" panose="020B0502040204020203" pitchFamily="34" charset="0"/>
              </a:endParaRPr>
            </a:p>
          </p:txBody>
        </p:sp>
      </p:grpSp>
      <p:grpSp>
        <p:nvGrpSpPr>
          <p:cNvPr id="56" name="Group 55"/>
          <p:cNvGrpSpPr/>
          <p:nvPr/>
        </p:nvGrpSpPr>
        <p:grpSpPr>
          <a:xfrm>
            <a:off x="151322" y="5689364"/>
            <a:ext cx="2636411" cy="548640"/>
            <a:chOff x="179032" y="1123407"/>
            <a:chExt cx="2636411" cy="548640"/>
          </a:xfrm>
        </p:grpSpPr>
        <p:sp>
          <p:nvSpPr>
            <p:cNvPr id="57" name="Oval 147"/>
            <p:cNvSpPr/>
            <p:nvPr/>
          </p:nvSpPr>
          <p:spPr bwMode="auto">
            <a:xfrm>
              <a:off x="179032" y="1123407"/>
              <a:ext cx="548640" cy="548640"/>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145"/>
            <p:cNvSpPr/>
            <p:nvPr/>
          </p:nvSpPr>
          <p:spPr bwMode="auto">
            <a:xfrm>
              <a:off x="805048" y="1206147"/>
              <a:ext cx="2010395"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a:solidFill>
                    <a:srgbClr val="F2C812"/>
                  </a:solidFill>
                  <a:cs typeface="Segoe UI Light" panose="020B0502040204020203" pitchFamily="34" charset="0"/>
                </a:rPr>
                <a:t>Ease of use and adoption</a:t>
              </a:r>
              <a:endParaRPr lang="en-US" sz="1200" b="1" i="1">
                <a:solidFill>
                  <a:srgbClr val="F2C812"/>
                </a:solidFill>
                <a:cs typeface="Segoe UI Light" panose="020B0502040204020203" pitchFamily="34" charset="0"/>
              </a:endParaRPr>
            </a:p>
          </p:txBody>
        </p:sp>
      </p:grpSp>
      <p:sp>
        <p:nvSpPr>
          <p:cNvPr id="59" name="Freeform 58"/>
          <p:cNvSpPr>
            <a:spLocks noChangeAspect="1"/>
          </p:cNvSpPr>
          <p:nvPr/>
        </p:nvSpPr>
        <p:spPr bwMode="black">
          <a:xfrm>
            <a:off x="242762" y="1024112"/>
            <a:ext cx="365760" cy="236244"/>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a:grpSpLocks noChangeAspect="1"/>
          </p:cNvGrpSpPr>
          <p:nvPr/>
        </p:nvGrpSpPr>
        <p:grpSpPr>
          <a:xfrm>
            <a:off x="284268" y="1947738"/>
            <a:ext cx="314004" cy="320040"/>
            <a:chOff x="810855" y="2271601"/>
            <a:chExt cx="457200" cy="465990"/>
          </a:xfrm>
        </p:grpSpPr>
        <p:sp>
          <p:nvSpPr>
            <p:cNvPr id="61"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a:grpSpLocks noChangeAspect="1"/>
          </p:cNvGrpSpPr>
          <p:nvPr/>
        </p:nvGrpSpPr>
        <p:grpSpPr>
          <a:xfrm>
            <a:off x="197042" y="2842214"/>
            <a:ext cx="457200" cy="457200"/>
            <a:chOff x="719415" y="3138080"/>
            <a:chExt cx="640080" cy="640080"/>
          </a:xfrm>
        </p:grpSpPr>
        <p:pic>
          <p:nvPicPr>
            <p:cNvPr id="64"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719415" y="3138080"/>
              <a:ext cx="640080" cy="640080"/>
            </a:xfrm>
            <a:prstGeom prst="rect">
              <a:avLst/>
            </a:prstGeom>
            <a:noFill/>
          </p:spPr>
        </p:pic>
        <p:pic>
          <p:nvPicPr>
            <p:cNvPr id="68" name="Picture 67"/>
            <p:cNvPicPr>
              <a:picLocks noChangeAspect="1"/>
            </p:cNvPicPr>
            <p:nvPr/>
          </p:nvPicPr>
          <p:blipFill>
            <a:blip r:embed="rId4"/>
            <a:stretch>
              <a:fillRect/>
            </a:stretch>
          </p:blipFill>
          <p:spPr>
            <a:xfrm flipH="1">
              <a:off x="975955" y="3370303"/>
              <a:ext cx="127000" cy="175846"/>
            </a:xfrm>
            <a:prstGeom prst="rect">
              <a:avLst/>
            </a:prstGeom>
          </p:spPr>
        </p:pic>
      </p:grpSp>
      <p:sp>
        <p:nvSpPr>
          <p:cNvPr id="69" name="Freeform 122"/>
          <p:cNvSpPr>
            <a:spLocks noChangeAspect="1"/>
          </p:cNvSpPr>
          <p:nvPr/>
        </p:nvSpPr>
        <p:spPr bwMode="black">
          <a:xfrm>
            <a:off x="266989" y="4843626"/>
            <a:ext cx="317305" cy="32004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sp>
        <p:nvSpPr>
          <p:cNvPr id="70" name="Freeform 21"/>
          <p:cNvSpPr>
            <a:spLocks noChangeAspect="1" noEditPoints="1"/>
          </p:cNvSpPr>
          <p:nvPr/>
        </p:nvSpPr>
        <p:spPr bwMode="black">
          <a:xfrm>
            <a:off x="242762" y="3875709"/>
            <a:ext cx="365760" cy="318790"/>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a:spLocks noChangeAspect="1"/>
          </p:cNvSpPr>
          <p:nvPr/>
        </p:nvSpPr>
        <p:spPr bwMode="black">
          <a:xfrm>
            <a:off x="242762" y="5803220"/>
            <a:ext cx="365760" cy="32092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0" y="657642"/>
            <a:ext cx="2787733" cy="4917865"/>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65"/>
          <p:cNvPicPr>
            <a:picLocks noChangeAspect="1"/>
          </p:cNvPicPr>
          <p:nvPr/>
        </p:nvPicPr>
        <p:blipFill rotWithShape="1">
          <a:blip r:embed="rId5"/>
          <a:srcRect l="62627" t="662" r="1"/>
          <a:stretch/>
        </p:blipFill>
        <p:spPr>
          <a:xfrm>
            <a:off x="9451774" y="3730566"/>
            <a:ext cx="1828800" cy="2563890"/>
          </a:xfrm>
          <a:prstGeom prst="rect">
            <a:avLst/>
          </a:prstGeom>
          <a:ln>
            <a:solidFill>
              <a:schemeClr val="bg2">
                <a:lumMod val="90000"/>
              </a:schemeClr>
            </a:solidFill>
          </a:ln>
          <a:effectLst>
            <a:outerShdw blurRad="50800" dist="38100" dir="2700000" algn="tl" rotWithShape="0">
              <a:prstClr val="black">
                <a:alpha val="40000"/>
              </a:prstClr>
            </a:outerShdw>
          </a:effectLst>
        </p:spPr>
      </p:pic>
      <p:pic>
        <p:nvPicPr>
          <p:cNvPr id="65" name="Picture 64"/>
          <p:cNvPicPr>
            <a:picLocks noChangeAspect="1"/>
          </p:cNvPicPr>
          <p:nvPr/>
        </p:nvPicPr>
        <p:blipFill>
          <a:blip r:embed="rId6"/>
          <a:stretch>
            <a:fillRect/>
          </a:stretch>
        </p:blipFill>
        <p:spPr>
          <a:xfrm>
            <a:off x="8569238" y="1327675"/>
            <a:ext cx="3200400" cy="1927886"/>
          </a:xfrm>
          <a:prstGeom prst="rect">
            <a:avLst/>
          </a:prstGeom>
          <a:ln>
            <a:solidFill>
              <a:schemeClr val="tx2">
                <a:lumMod val="20000"/>
                <a:lumOff val="80000"/>
              </a:schemeClr>
            </a:solidFill>
          </a:ln>
        </p:spPr>
      </p:pic>
    </p:spTree>
    <p:extLst>
      <p:ext uri="{BB962C8B-B14F-4D97-AF65-F5344CB8AC3E}">
        <p14:creationId xmlns:p14="http://schemas.microsoft.com/office/powerpoint/2010/main" val="10721179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7697F1A-5FE6-5848-BFEC-E98C56923C0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2646" y="3087878"/>
            <a:ext cx="1860666" cy="682244"/>
          </a:xfrm>
          <a:prstGeom prst="rect">
            <a:avLst/>
          </a:prstGeom>
        </p:spPr>
      </p:pic>
    </p:spTree>
    <p:extLst>
      <p:ext uri="{BB962C8B-B14F-4D97-AF65-F5344CB8AC3E}">
        <p14:creationId xmlns:p14="http://schemas.microsoft.com/office/powerpoint/2010/main" val="23944703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C8828-4B2A-495C-8C59-FE12AD9B0593}"/>
              </a:ext>
            </a:extLst>
          </p:cNvPr>
          <p:cNvSpPr>
            <a:spLocks noGrp="1"/>
          </p:cNvSpPr>
          <p:nvPr>
            <p:ph type="title"/>
          </p:nvPr>
        </p:nvSpPr>
        <p:spPr>
          <a:xfrm>
            <a:off x="584200" y="3102889"/>
            <a:ext cx="9144000" cy="430887"/>
          </a:xfrm>
        </p:spPr>
        <p:txBody>
          <a:bodyPr/>
          <a:lstStyle/>
          <a:p>
            <a:r>
              <a:rPr lang="en-US" sz="2800" b="0" dirty="0">
                <a:solidFill>
                  <a:schemeClr val="tx1"/>
                </a:solidFill>
                <a:latin typeface="HelvNeue Light for IBM"/>
              </a:rPr>
              <a:t>Power BI Overview</a:t>
            </a:r>
          </a:p>
        </p:txBody>
      </p:sp>
    </p:spTree>
    <p:extLst>
      <p:ext uri="{BB962C8B-B14F-4D97-AF65-F5344CB8AC3E}">
        <p14:creationId xmlns:p14="http://schemas.microsoft.com/office/powerpoint/2010/main" val="3388030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04800" y="201037"/>
            <a:ext cx="11887200" cy="646331"/>
          </a:xfrm>
          <a:prstGeom prst="rect">
            <a:avLst/>
          </a:prstGeom>
          <a:noFill/>
        </p:spPr>
        <p:txBody>
          <a:bodyPr wrap="square" lIns="91440" tIns="45720" rIns="91440" bIns="45720" rtlCol="0" anchor="t">
            <a:spAutoFit/>
          </a:bodyPr>
          <a:lstStyle/>
          <a:p>
            <a:r>
              <a:rPr lang="en-US" sz="3600">
                <a:solidFill>
                  <a:srgbClr val="000000"/>
                </a:solidFill>
                <a:latin typeface="Segoe UI Light"/>
              </a:rPr>
              <a:t>Common challenges for BI </a:t>
            </a:r>
            <a:endParaRPr lang="en-US" sz="3600" b="1">
              <a:solidFill>
                <a:srgbClr val="000000"/>
              </a:solidFill>
              <a:latin typeface="Segoe UI Light"/>
              <a:cs typeface="Segoe UI" panose="020B0502040204020203" pitchFamily="34" charset="0"/>
            </a:endParaRPr>
          </a:p>
        </p:txBody>
      </p:sp>
      <p:grpSp>
        <p:nvGrpSpPr>
          <p:cNvPr id="9" name="Group 8"/>
          <p:cNvGrpSpPr/>
          <p:nvPr/>
        </p:nvGrpSpPr>
        <p:grpSpPr>
          <a:xfrm>
            <a:off x="636240" y="3002711"/>
            <a:ext cx="11131423" cy="822960"/>
            <a:chOff x="505215" y="2806009"/>
            <a:chExt cx="11131423" cy="822960"/>
          </a:xfrm>
        </p:grpSpPr>
        <p:grpSp>
          <p:nvGrpSpPr>
            <p:cNvPr id="5" name="Group 4"/>
            <p:cNvGrpSpPr/>
            <p:nvPr/>
          </p:nvGrpSpPr>
          <p:grpSpPr>
            <a:xfrm>
              <a:off x="505215" y="2806009"/>
              <a:ext cx="11131423" cy="822960"/>
              <a:chOff x="505215" y="2806009"/>
              <a:chExt cx="11131423" cy="822960"/>
            </a:xfrm>
          </p:grpSpPr>
          <p:grpSp>
            <p:nvGrpSpPr>
              <p:cNvPr id="10" name="Group 11"/>
              <p:cNvGrpSpPr/>
              <p:nvPr/>
            </p:nvGrpSpPr>
            <p:grpSpPr>
              <a:xfrm>
                <a:off x="505215" y="2806009"/>
                <a:ext cx="11131423" cy="822960"/>
                <a:chOff x="419875" y="3545634"/>
                <a:chExt cx="11131423" cy="914400"/>
              </a:xfrm>
            </p:grpSpPr>
            <p:sp>
              <p:nvSpPr>
                <p:cNvPr id="11" name="Rectangle 12"/>
                <p:cNvSpPr/>
                <p:nvPr/>
              </p:nvSpPr>
              <p:spPr bwMode="auto">
                <a:xfrm>
                  <a:off x="1242835" y="3545634"/>
                  <a:ext cx="3891665" cy="914400"/>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rgbClr val="EDC30D"/>
                      </a:solidFill>
                      <a:latin typeface="Segoe UI Light"/>
                      <a:ea typeface="Segoe UI" pitchFamily="34" charset="0"/>
                      <a:cs typeface="Segoe UI" pitchFamily="34" charset="0"/>
                    </a:rPr>
                    <a:t>Managing data in the cloud</a:t>
                  </a:r>
                </a:p>
              </p:txBody>
            </p:sp>
            <p:sp>
              <p:nvSpPr>
                <p:cNvPr id="12" name="Rectangle 13"/>
                <p:cNvSpPr/>
                <p:nvPr/>
              </p:nvSpPr>
              <p:spPr bwMode="auto">
                <a:xfrm>
                  <a:off x="5134500" y="3545634"/>
                  <a:ext cx="6416798" cy="914400"/>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en-US" dirty="0">
                      <a:ln w="3175">
                        <a:noFill/>
                      </a:ln>
                      <a:solidFill>
                        <a:srgbClr val="000000"/>
                      </a:solidFill>
                      <a:latin typeface="Segoe UI Light"/>
                    </a:rPr>
                    <a:t>Security, privacy and data refresh concerns for moving data into the cloud</a:t>
                  </a:r>
                </a:p>
              </p:txBody>
            </p:sp>
            <p:sp>
              <p:nvSpPr>
                <p:cNvPr id="13" name="Rectangle 16"/>
                <p:cNvSpPr/>
                <p:nvPr/>
              </p:nvSpPr>
              <p:spPr bwMode="auto">
                <a:xfrm>
                  <a:off x="419875" y="3545634"/>
                  <a:ext cx="822960" cy="914400"/>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200">
                    <a:solidFill>
                      <a:srgbClr val="000000"/>
                    </a:solidFill>
                    <a:ea typeface="Segoe UI" pitchFamily="34" charset="0"/>
                    <a:cs typeface="Segoe UI" pitchFamily="34" charset="0"/>
                  </a:endParaRPr>
                </a:p>
              </p:txBody>
            </p:sp>
          </p:grpSp>
          <p:pic>
            <p:nvPicPr>
              <p:cNvPr id="36" name="Picture 6" descr="\\MAGNUM\Projects\Microsoft\Cloud Power FY12\Design\ICONS_PNG\Cloud.png"/>
              <p:cNvPicPr>
                <a:picLocks noChangeAspect="1" noChangeArrowheads="1"/>
              </p:cNvPicPr>
              <p:nvPr/>
            </p:nvPicPr>
            <p:blipFill>
              <a:blip r:embed="rId3" cstate="print">
                <a:biLevel thresh="75000"/>
              </a:blip>
              <a:srcRect/>
              <a:stretch>
                <a:fillRect/>
              </a:stretch>
            </p:blipFill>
            <p:spPr bwMode="auto">
              <a:xfrm>
                <a:off x="591078" y="2897449"/>
                <a:ext cx="640080" cy="640080"/>
              </a:xfrm>
              <a:prstGeom prst="rect">
                <a:avLst/>
              </a:prstGeom>
              <a:noFill/>
            </p:spPr>
          </p:pic>
        </p:grpSp>
        <p:pic>
          <p:nvPicPr>
            <p:cNvPr id="37" name="Picture 36"/>
            <p:cNvPicPr>
              <a:picLocks noChangeAspect="1"/>
            </p:cNvPicPr>
            <p:nvPr/>
          </p:nvPicPr>
          <p:blipFill>
            <a:blip r:embed="rId4"/>
            <a:stretch>
              <a:fillRect/>
            </a:stretch>
          </p:blipFill>
          <p:spPr>
            <a:xfrm flipH="1">
              <a:off x="847618" y="3129672"/>
              <a:ext cx="127000" cy="175846"/>
            </a:xfrm>
            <a:prstGeom prst="rect">
              <a:avLst/>
            </a:prstGeom>
          </p:spPr>
        </p:pic>
      </p:grpSp>
      <p:grpSp>
        <p:nvGrpSpPr>
          <p:cNvPr id="8" name="Group 7"/>
          <p:cNvGrpSpPr/>
          <p:nvPr/>
        </p:nvGrpSpPr>
        <p:grpSpPr>
          <a:xfrm>
            <a:off x="636240" y="5746551"/>
            <a:ext cx="11131423" cy="822960"/>
            <a:chOff x="505215" y="5549849"/>
            <a:chExt cx="11131423" cy="822960"/>
          </a:xfrm>
        </p:grpSpPr>
        <p:grpSp>
          <p:nvGrpSpPr>
            <p:cNvPr id="22" name="Group 24"/>
            <p:cNvGrpSpPr/>
            <p:nvPr/>
          </p:nvGrpSpPr>
          <p:grpSpPr>
            <a:xfrm>
              <a:off x="505215" y="5549849"/>
              <a:ext cx="11131423" cy="822960"/>
              <a:chOff x="419875" y="4721288"/>
              <a:chExt cx="11131423" cy="1690145"/>
            </a:xfrm>
          </p:grpSpPr>
          <p:sp>
            <p:nvSpPr>
              <p:cNvPr id="23" name="Rectangle 25"/>
              <p:cNvSpPr/>
              <p:nvPr/>
            </p:nvSpPr>
            <p:spPr bwMode="auto">
              <a:xfrm>
                <a:off x="1242835" y="4721288"/>
                <a:ext cx="3891665" cy="1690145"/>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rgbClr val="EDC30D"/>
                    </a:solidFill>
                    <a:latin typeface="Segoe UI Light"/>
                    <a:ea typeface="Segoe UI" pitchFamily="34" charset="0"/>
                    <a:cs typeface="Segoe UI" pitchFamily="34" charset="0"/>
                  </a:rPr>
                  <a:t>Ease of use and adoption</a:t>
                </a:r>
              </a:p>
            </p:txBody>
          </p:sp>
          <p:sp>
            <p:nvSpPr>
              <p:cNvPr id="24" name="Rectangle 26"/>
              <p:cNvSpPr/>
              <p:nvPr/>
            </p:nvSpPr>
            <p:spPr bwMode="auto">
              <a:xfrm>
                <a:off x="5134500" y="4721288"/>
                <a:ext cx="6416798" cy="1690145"/>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en-US">
                    <a:ln w="3175">
                      <a:noFill/>
                    </a:ln>
                    <a:solidFill>
                      <a:srgbClr val="000000"/>
                    </a:solidFill>
                    <a:latin typeface="Segoe UI Light"/>
                  </a:rPr>
                  <a:t>Ease of adoption by business and IT orgs. Time spent on creating reports and visualizations</a:t>
                </a:r>
              </a:p>
            </p:txBody>
          </p:sp>
          <p:sp>
            <p:nvSpPr>
              <p:cNvPr id="25" name="Rectangle 27"/>
              <p:cNvSpPr/>
              <p:nvPr/>
            </p:nvSpPr>
            <p:spPr bwMode="auto">
              <a:xfrm>
                <a:off x="419875" y="4721288"/>
                <a:ext cx="822960" cy="1690145"/>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200">
                  <a:solidFill>
                    <a:srgbClr val="000000"/>
                  </a:solidFill>
                  <a:ea typeface="Segoe UI" pitchFamily="34" charset="0"/>
                  <a:cs typeface="Segoe UI" pitchFamily="34" charset="0"/>
                </a:endParaRPr>
              </a:p>
            </p:txBody>
          </p:sp>
        </p:grpSp>
        <p:sp>
          <p:nvSpPr>
            <p:cNvPr id="40" name="Freeform 39"/>
            <p:cNvSpPr>
              <a:spLocks noChangeAspect="1"/>
            </p:cNvSpPr>
            <p:nvPr/>
          </p:nvSpPr>
          <p:spPr bwMode="black">
            <a:xfrm>
              <a:off x="682518" y="5760749"/>
              <a:ext cx="457200" cy="40116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34" name="Group 33"/>
          <p:cNvGrpSpPr/>
          <p:nvPr/>
        </p:nvGrpSpPr>
        <p:grpSpPr>
          <a:xfrm>
            <a:off x="636240" y="4831939"/>
            <a:ext cx="11131423" cy="822960"/>
            <a:chOff x="505215" y="4635237"/>
            <a:chExt cx="11131423" cy="822960"/>
          </a:xfrm>
        </p:grpSpPr>
        <p:grpSp>
          <p:nvGrpSpPr>
            <p:cNvPr id="30" name="Group 24"/>
            <p:cNvGrpSpPr/>
            <p:nvPr/>
          </p:nvGrpSpPr>
          <p:grpSpPr>
            <a:xfrm>
              <a:off x="505215" y="4635237"/>
              <a:ext cx="11131423" cy="822960"/>
              <a:chOff x="419875" y="4721288"/>
              <a:chExt cx="11131423" cy="1690145"/>
            </a:xfrm>
          </p:grpSpPr>
          <p:sp>
            <p:nvSpPr>
              <p:cNvPr id="31" name="Rectangle 25"/>
              <p:cNvSpPr/>
              <p:nvPr/>
            </p:nvSpPr>
            <p:spPr bwMode="auto">
              <a:xfrm>
                <a:off x="1242835" y="4721288"/>
                <a:ext cx="3891665" cy="1690145"/>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rgbClr val="EDC30D"/>
                    </a:solidFill>
                    <a:latin typeface="Segoe UI Light"/>
                    <a:ea typeface="Segoe UI" pitchFamily="34" charset="0"/>
                    <a:cs typeface="Segoe UI" pitchFamily="34" charset="0"/>
                  </a:rPr>
                  <a:t>Keeping data current</a:t>
                </a:r>
              </a:p>
            </p:txBody>
          </p:sp>
          <p:sp>
            <p:nvSpPr>
              <p:cNvPr id="32" name="Rectangle 26"/>
              <p:cNvSpPr/>
              <p:nvPr/>
            </p:nvSpPr>
            <p:spPr bwMode="auto">
              <a:xfrm>
                <a:off x="5134500" y="4721288"/>
                <a:ext cx="6416798" cy="1690145"/>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en-US">
                    <a:ln w="3175">
                      <a:noFill/>
                    </a:ln>
                    <a:solidFill>
                      <a:srgbClr val="000000"/>
                    </a:solidFill>
                    <a:latin typeface="Segoe UI Light"/>
                  </a:rPr>
                  <a:t>Complexity of refreshing data from variety of data sources, increased demand for real-time data</a:t>
                </a:r>
              </a:p>
            </p:txBody>
          </p:sp>
          <p:sp>
            <p:nvSpPr>
              <p:cNvPr id="33" name="Rectangle 27"/>
              <p:cNvSpPr/>
              <p:nvPr/>
            </p:nvSpPr>
            <p:spPr bwMode="auto">
              <a:xfrm>
                <a:off x="419875" y="4721288"/>
                <a:ext cx="822960" cy="1690145"/>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a:solidFill>
                    <a:srgbClr val="000000"/>
                  </a:solidFill>
                  <a:ea typeface="Segoe UI" pitchFamily="34" charset="0"/>
                  <a:cs typeface="Segoe UI" pitchFamily="34" charset="0"/>
                </a:endParaRPr>
              </a:p>
            </p:txBody>
          </p:sp>
        </p:grpSp>
        <p:sp>
          <p:nvSpPr>
            <p:cNvPr id="41" name="Freeform 122"/>
            <p:cNvSpPr>
              <a:spLocks noChangeAspect="1"/>
            </p:cNvSpPr>
            <p:nvPr/>
          </p:nvSpPr>
          <p:spPr bwMode="black">
            <a:xfrm>
              <a:off x="728238" y="4862260"/>
              <a:ext cx="365760" cy="368913"/>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tx1"/>
            </a:solidFill>
            <a:ln>
              <a:noFill/>
            </a:ln>
          </p:spPr>
          <p:txBody>
            <a:bodyPr vert="horz" wrap="square" lIns="69953" tIns="34976" rIns="69953" bIns="34976" numCol="1" anchor="t" anchorCtr="0" compatLnSpc="1">
              <a:prstTxWarp prst="textNoShape">
                <a:avLst/>
              </a:prstTxWarp>
            </a:bodyPr>
            <a:lstStyle/>
            <a:p>
              <a:endParaRPr lang="en-US" sz="1350">
                <a:solidFill>
                  <a:srgbClr val="000000"/>
                </a:solidFill>
              </a:endParaRPr>
            </a:p>
          </p:txBody>
        </p:sp>
      </p:grpSp>
      <p:grpSp>
        <p:nvGrpSpPr>
          <p:cNvPr id="7" name="Group 6"/>
          <p:cNvGrpSpPr/>
          <p:nvPr/>
        </p:nvGrpSpPr>
        <p:grpSpPr>
          <a:xfrm>
            <a:off x="636240" y="3917325"/>
            <a:ext cx="11131423" cy="822960"/>
            <a:chOff x="505215" y="3720623"/>
            <a:chExt cx="11131423" cy="822960"/>
          </a:xfrm>
        </p:grpSpPr>
        <p:grpSp>
          <p:nvGrpSpPr>
            <p:cNvPr id="26" name="Group 24"/>
            <p:cNvGrpSpPr/>
            <p:nvPr/>
          </p:nvGrpSpPr>
          <p:grpSpPr>
            <a:xfrm>
              <a:off x="505215" y="3720623"/>
              <a:ext cx="11131423" cy="822960"/>
              <a:chOff x="419875" y="4721288"/>
              <a:chExt cx="11131423" cy="1690145"/>
            </a:xfrm>
          </p:grpSpPr>
          <p:sp>
            <p:nvSpPr>
              <p:cNvPr id="27" name="Rectangle 25"/>
              <p:cNvSpPr/>
              <p:nvPr/>
            </p:nvSpPr>
            <p:spPr bwMode="auto">
              <a:xfrm>
                <a:off x="1242835" y="4721288"/>
                <a:ext cx="3891665" cy="1690145"/>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rgbClr val="EDC30D"/>
                    </a:solidFill>
                    <a:latin typeface="Segoe UI Light"/>
                    <a:ea typeface="Segoe UI" pitchFamily="34" charset="0"/>
                    <a:cs typeface="Segoe UI" pitchFamily="34" charset="0"/>
                  </a:rPr>
                  <a:t>Integration with existing environment</a:t>
                </a:r>
              </a:p>
            </p:txBody>
          </p:sp>
          <p:sp>
            <p:nvSpPr>
              <p:cNvPr id="28" name="Rectangle 26"/>
              <p:cNvSpPr/>
              <p:nvPr/>
            </p:nvSpPr>
            <p:spPr bwMode="auto">
              <a:xfrm>
                <a:off x="5134500" y="4721288"/>
                <a:ext cx="6416798" cy="1690145"/>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en-US">
                    <a:ln w="3175">
                      <a:noFill/>
                    </a:ln>
                    <a:solidFill>
                      <a:srgbClr val="000000"/>
                    </a:solidFill>
                    <a:latin typeface="Segoe UI Light"/>
                  </a:rPr>
                  <a:t>Cost and time involved in integration of solution into existing environment. Extensibility of system </a:t>
                </a:r>
              </a:p>
            </p:txBody>
          </p:sp>
          <p:sp>
            <p:nvSpPr>
              <p:cNvPr id="29" name="Rectangle 27"/>
              <p:cNvSpPr/>
              <p:nvPr/>
            </p:nvSpPr>
            <p:spPr bwMode="auto">
              <a:xfrm>
                <a:off x="419875" y="4721288"/>
                <a:ext cx="822960" cy="1690145"/>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a:solidFill>
                    <a:srgbClr val="000000"/>
                  </a:solidFill>
                  <a:ea typeface="Segoe UI" pitchFamily="34" charset="0"/>
                  <a:cs typeface="Segoe UI" pitchFamily="34" charset="0"/>
                </a:endParaRPr>
              </a:p>
            </p:txBody>
          </p:sp>
        </p:grpSp>
        <p:sp>
          <p:nvSpPr>
            <p:cNvPr id="42" name="Freeform 21"/>
            <p:cNvSpPr>
              <a:spLocks noChangeAspect="1" noEditPoints="1"/>
            </p:cNvSpPr>
            <p:nvPr/>
          </p:nvSpPr>
          <p:spPr bwMode="black">
            <a:xfrm>
              <a:off x="684502" y="3915798"/>
              <a:ext cx="457200" cy="398487"/>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7" tIns="56942" rIns="71177" bIns="56942" numCol="1" spcCol="0" rtlCol="0" fromWordArt="0" anchor="t" anchorCtr="0" forceAA="0" compatLnSpc="1">
              <a:prstTxWarp prst="textNoShape">
                <a:avLst/>
              </a:prstTxWarp>
              <a:noAutofit/>
            </a:body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grpSp>
      <p:grpSp>
        <p:nvGrpSpPr>
          <p:cNvPr id="2" name="Group 1"/>
          <p:cNvGrpSpPr/>
          <p:nvPr/>
        </p:nvGrpSpPr>
        <p:grpSpPr>
          <a:xfrm>
            <a:off x="636240" y="1177777"/>
            <a:ext cx="11131423" cy="822960"/>
            <a:chOff x="505215" y="976781"/>
            <a:chExt cx="11131423" cy="822960"/>
          </a:xfrm>
        </p:grpSpPr>
        <p:grpSp>
          <p:nvGrpSpPr>
            <p:cNvPr id="18" name="Group 24"/>
            <p:cNvGrpSpPr/>
            <p:nvPr/>
          </p:nvGrpSpPr>
          <p:grpSpPr>
            <a:xfrm>
              <a:off x="505215" y="976781"/>
              <a:ext cx="11131423" cy="822960"/>
              <a:chOff x="419875" y="4721288"/>
              <a:chExt cx="11131423" cy="1690145"/>
            </a:xfrm>
          </p:grpSpPr>
          <p:sp>
            <p:nvSpPr>
              <p:cNvPr id="19" name="Rectangle 25"/>
              <p:cNvSpPr/>
              <p:nvPr/>
            </p:nvSpPr>
            <p:spPr bwMode="auto">
              <a:xfrm>
                <a:off x="1242835" y="4721288"/>
                <a:ext cx="3891665" cy="1690145"/>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rgbClr val="EDC30D"/>
                    </a:solidFill>
                    <a:latin typeface="Segoe UI Light"/>
                    <a:ea typeface="Segoe UI" pitchFamily="34" charset="0"/>
                    <a:cs typeface="Segoe UI" pitchFamily="34" charset="0"/>
                  </a:rPr>
                  <a:t>Management of BI systems</a:t>
                </a:r>
              </a:p>
            </p:txBody>
          </p:sp>
          <p:sp>
            <p:nvSpPr>
              <p:cNvPr id="20" name="Rectangle 26"/>
              <p:cNvSpPr/>
              <p:nvPr/>
            </p:nvSpPr>
            <p:spPr bwMode="auto">
              <a:xfrm>
                <a:off x="5134500" y="4721288"/>
                <a:ext cx="6416798" cy="1690145"/>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en-US">
                    <a:ln w="3175">
                      <a:noFill/>
                    </a:ln>
                    <a:solidFill>
                      <a:srgbClr val="000000"/>
                    </a:solidFill>
                    <a:latin typeface="Segoe UI Light"/>
                  </a:rPr>
                  <a:t>Time spent on setup and management of BI systems. Ongoing hardware acquisitions and maintenance to meet SLAs</a:t>
                </a:r>
              </a:p>
            </p:txBody>
          </p:sp>
          <p:sp>
            <p:nvSpPr>
              <p:cNvPr id="21" name="Rectangle 27"/>
              <p:cNvSpPr/>
              <p:nvPr/>
            </p:nvSpPr>
            <p:spPr bwMode="auto">
              <a:xfrm>
                <a:off x="419875" y="4721288"/>
                <a:ext cx="822960" cy="1690145"/>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a:solidFill>
                    <a:srgbClr val="000000"/>
                  </a:solidFill>
                  <a:ea typeface="Segoe UI" pitchFamily="34" charset="0"/>
                  <a:cs typeface="Segoe UI" pitchFamily="34" charset="0"/>
                </a:endParaRPr>
              </a:p>
            </p:txBody>
          </p:sp>
        </p:grpSp>
        <p:sp>
          <p:nvSpPr>
            <p:cNvPr id="43" name="Freeform 42"/>
            <p:cNvSpPr>
              <a:spLocks noChangeAspect="1"/>
            </p:cNvSpPr>
            <p:nvPr/>
          </p:nvSpPr>
          <p:spPr bwMode="black">
            <a:xfrm>
              <a:off x="682518" y="1240608"/>
              <a:ext cx="457200" cy="295305"/>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3" name="Group 2"/>
          <p:cNvGrpSpPr/>
          <p:nvPr/>
        </p:nvGrpSpPr>
        <p:grpSpPr>
          <a:xfrm>
            <a:off x="636240" y="2088097"/>
            <a:ext cx="11131423" cy="822960"/>
            <a:chOff x="505215" y="1891395"/>
            <a:chExt cx="11131423" cy="822960"/>
          </a:xfrm>
        </p:grpSpPr>
        <p:grpSp>
          <p:nvGrpSpPr>
            <p:cNvPr id="14" name="Group 24"/>
            <p:cNvGrpSpPr/>
            <p:nvPr/>
          </p:nvGrpSpPr>
          <p:grpSpPr>
            <a:xfrm>
              <a:off x="505215" y="1891395"/>
              <a:ext cx="11131423" cy="822960"/>
              <a:chOff x="419875" y="4721288"/>
              <a:chExt cx="11131423" cy="1690145"/>
            </a:xfrm>
          </p:grpSpPr>
          <p:sp>
            <p:nvSpPr>
              <p:cNvPr id="15" name="Rectangle 25"/>
              <p:cNvSpPr/>
              <p:nvPr/>
            </p:nvSpPr>
            <p:spPr bwMode="auto">
              <a:xfrm>
                <a:off x="1242835" y="4721288"/>
                <a:ext cx="3891665" cy="1690145"/>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a:solidFill>
                      <a:srgbClr val="EDC30D"/>
                    </a:solidFill>
                    <a:latin typeface="Segoe UI Light"/>
                    <a:ea typeface="Segoe UI" pitchFamily="34" charset="0"/>
                    <a:cs typeface="Segoe UI" pitchFamily="34" charset="0"/>
                  </a:rPr>
                  <a:t>Variety of data sources</a:t>
                </a:r>
              </a:p>
            </p:txBody>
          </p:sp>
          <p:sp>
            <p:nvSpPr>
              <p:cNvPr id="16" name="Rectangle 26"/>
              <p:cNvSpPr/>
              <p:nvPr/>
            </p:nvSpPr>
            <p:spPr bwMode="auto">
              <a:xfrm>
                <a:off x="5134500" y="4721288"/>
                <a:ext cx="6416798" cy="1690145"/>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en-US">
                    <a:ln w="3175">
                      <a:noFill/>
                    </a:ln>
                    <a:solidFill>
                      <a:srgbClr val="000000"/>
                    </a:solidFill>
                    <a:latin typeface="Segoe UI Light"/>
                  </a:rPr>
                  <a:t>Complexity of connecting to on-premise and cloud (SaaS) data sources</a:t>
                </a:r>
              </a:p>
            </p:txBody>
          </p:sp>
          <p:sp>
            <p:nvSpPr>
              <p:cNvPr id="17" name="Rectangle 27"/>
              <p:cNvSpPr/>
              <p:nvPr/>
            </p:nvSpPr>
            <p:spPr bwMode="auto">
              <a:xfrm>
                <a:off x="419875" y="4721288"/>
                <a:ext cx="822960" cy="1690145"/>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a:solidFill>
                    <a:srgbClr val="000000"/>
                  </a:solidFill>
                  <a:ea typeface="Segoe UI" pitchFamily="34" charset="0"/>
                  <a:cs typeface="Segoe UI" pitchFamily="34" charset="0"/>
                </a:endParaRPr>
              </a:p>
            </p:txBody>
          </p:sp>
        </p:grpSp>
        <p:grpSp>
          <p:nvGrpSpPr>
            <p:cNvPr id="6" name="Group 5"/>
            <p:cNvGrpSpPr/>
            <p:nvPr/>
          </p:nvGrpSpPr>
          <p:grpSpPr>
            <a:xfrm>
              <a:off x="682518" y="2083950"/>
              <a:ext cx="457200" cy="465990"/>
              <a:chOff x="810855" y="2271601"/>
              <a:chExt cx="457200" cy="465990"/>
            </a:xfrm>
          </p:grpSpPr>
          <p:sp>
            <p:nvSpPr>
              <p:cNvPr id="45" name="Freeform 5"/>
              <p:cNvSpPr>
                <a:spLocks noEditPoints="1"/>
              </p:cNvSpPr>
              <p:nvPr/>
            </p:nvSpPr>
            <p:spPr bwMode="black">
              <a:xfrm>
                <a:off x="892260" y="2271601"/>
                <a:ext cx="375795" cy="29163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Freeform 45"/>
              <p:cNvSpPr>
                <a:spLocks noChangeAspect="1"/>
              </p:cNvSpPr>
              <p:nvPr/>
            </p:nvSpPr>
            <p:spPr bwMode="black">
              <a:xfrm>
                <a:off x="810855" y="2476645"/>
                <a:ext cx="373866" cy="260946"/>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19687386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4"/>
                                        </p:tgtEl>
                                        <p:attrNameLst>
                                          <p:attrName>style.visibility</p:attrName>
                                        </p:attrNameLst>
                                      </p:cBhvr>
                                      <p:to>
                                        <p:strVal val="visible"/>
                                      </p:to>
                                    </p:set>
                                    <p:animEffect transition="in" filter="fade">
                                      <p:cBhvr>
                                        <p:cTn id="23" dur="500"/>
                                        <p:tgtEl>
                                          <p:spTgt spid="34"/>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68442" y="52742"/>
            <a:ext cx="9885055" cy="646331"/>
          </a:xfrm>
          <a:prstGeom prst="rect">
            <a:avLst/>
          </a:prstGeom>
          <a:noFill/>
        </p:spPr>
        <p:txBody>
          <a:bodyPr wrap="square" rtlCol="0">
            <a:spAutoFit/>
          </a:bodyPr>
          <a:lstStyle/>
          <a:p>
            <a:r>
              <a:rPr lang="en-IN" sz="3600" spc="-100">
                <a:ln w="3175">
                  <a:noFill/>
                </a:ln>
                <a:solidFill>
                  <a:srgbClr val="000000"/>
                </a:solidFill>
                <a:latin typeface="Segoe UI Light"/>
                <a:cs typeface="Segoe UI" pitchFamily="34" charset="0"/>
              </a:rPr>
              <a:t>Power BI Overview</a:t>
            </a:r>
          </a:p>
        </p:txBody>
      </p:sp>
      <p:sp>
        <p:nvSpPr>
          <p:cNvPr id="65" name="Flowchart: Process 64"/>
          <p:cNvSpPr/>
          <p:nvPr/>
        </p:nvSpPr>
        <p:spPr bwMode="auto">
          <a:xfrm>
            <a:off x="391418" y="1577067"/>
            <a:ext cx="3552200" cy="4583909"/>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rgbClr val="000000"/>
              </a:solidFill>
              <a:ea typeface="Segoe UI" pitchFamily="34" charset="0"/>
              <a:cs typeface="Segoe UI" pitchFamily="34" charset="0"/>
            </a:endParaRPr>
          </a:p>
        </p:txBody>
      </p:sp>
      <p:sp>
        <p:nvSpPr>
          <p:cNvPr id="66" name="Rectangle 65"/>
          <p:cNvSpPr/>
          <p:nvPr/>
        </p:nvSpPr>
        <p:spPr bwMode="auto">
          <a:xfrm>
            <a:off x="391416" y="1577068"/>
            <a:ext cx="11409165" cy="4583909"/>
          </a:xfrm>
          <a:prstGeom prst="rect">
            <a:avLst/>
          </a:pr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8" name="Rectangle 67"/>
          <p:cNvSpPr/>
          <p:nvPr/>
        </p:nvSpPr>
        <p:spPr>
          <a:xfrm>
            <a:off x="751805" y="1704548"/>
            <a:ext cx="1692204" cy="400110"/>
          </a:xfrm>
          <a:prstGeom prst="rect">
            <a:avLst/>
          </a:prstGeom>
        </p:spPr>
        <p:txBody>
          <a:bodyPr wrap="square">
            <a:spAutoFit/>
          </a:bodyPr>
          <a:lstStyle/>
          <a:p>
            <a:pPr defTabSz="914367">
              <a:spcAft>
                <a:spcPts val="588"/>
              </a:spcAft>
            </a:pPr>
            <a:r>
              <a:rPr lang="en-US" sz="2000">
                <a:solidFill>
                  <a:srgbClr val="000000"/>
                </a:solidFill>
              </a:rPr>
              <a:t>Data sources</a:t>
            </a:r>
          </a:p>
        </p:txBody>
      </p:sp>
      <p:cxnSp>
        <p:nvCxnSpPr>
          <p:cNvPr id="97" name="Straight Connector 96"/>
          <p:cNvCxnSpPr/>
          <p:nvPr/>
        </p:nvCxnSpPr>
        <p:spPr>
          <a:xfrm>
            <a:off x="1070439" y="2872886"/>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98" name="Rectangle 145"/>
          <p:cNvSpPr/>
          <p:nvPr/>
        </p:nvSpPr>
        <p:spPr bwMode="auto">
          <a:xfrm>
            <a:off x="1014872" y="2314939"/>
            <a:ext cx="2059649" cy="4952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a:solidFill>
                  <a:srgbClr val="000000"/>
                </a:solidFill>
                <a:cs typeface="Segoe UI Light" panose="020B0502040204020203" pitchFamily="34" charset="0"/>
              </a:rPr>
              <a:t>Cloud-based SaaS solutions</a:t>
            </a:r>
          </a:p>
          <a:p>
            <a:pPr defTabSz="914367">
              <a:spcAft>
                <a:spcPts val="600"/>
              </a:spcAft>
            </a:pPr>
            <a:r>
              <a:rPr lang="en-US" sz="900" i="1">
                <a:solidFill>
                  <a:srgbClr val="000000"/>
                </a:solidFill>
                <a:cs typeface="Segoe UI Light" panose="020B0502040204020203" pitchFamily="34" charset="0"/>
              </a:rPr>
              <a:t>e.g. </a:t>
            </a:r>
            <a:r>
              <a:rPr lang="en-US" sz="900" i="1" err="1">
                <a:solidFill>
                  <a:srgbClr val="000000"/>
                </a:solidFill>
                <a:cs typeface="Segoe UI Light" panose="020B0502040204020203" pitchFamily="34" charset="0"/>
              </a:rPr>
              <a:t>Marketo</a:t>
            </a:r>
            <a:r>
              <a:rPr lang="en-US" sz="900" i="1">
                <a:solidFill>
                  <a:srgbClr val="000000"/>
                </a:solidFill>
                <a:cs typeface="Segoe UI Light" panose="020B0502040204020203" pitchFamily="34" charset="0"/>
              </a:rPr>
              <a:t>, Salesforce, </a:t>
            </a:r>
            <a:r>
              <a:rPr lang="en-US" sz="900" i="1" err="1">
                <a:solidFill>
                  <a:srgbClr val="000000"/>
                </a:solidFill>
                <a:cs typeface="Segoe UI Light" panose="020B0502040204020203" pitchFamily="34" charset="0"/>
              </a:rPr>
              <a:t>Quickbooks</a:t>
            </a:r>
            <a:r>
              <a:rPr lang="en-US" sz="900" i="1">
                <a:solidFill>
                  <a:srgbClr val="000000"/>
                </a:solidFill>
                <a:cs typeface="Segoe UI Light" panose="020B0502040204020203" pitchFamily="34" charset="0"/>
              </a:rPr>
              <a:t>, Google Analytics, …</a:t>
            </a:r>
          </a:p>
        </p:txBody>
      </p:sp>
      <p:sp>
        <p:nvSpPr>
          <p:cNvPr id="100" name="Oval 147"/>
          <p:cNvSpPr/>
          <p:nvPr/>
        </p:nvSpPr>
        <p:spPr bwMode="auto">
          <a:xfrm>
            <a:off x="644325" y="244563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01" name="Group 332"/>
          <p:cNvGrpSpPr/>
          <p:nvPr/>
        </p:nvGrpSpPr>
        <p:grpSpPr>
          <a:xfrm>
            <a:off x="696368" y="2521568"/>
            <a:ext cx="261675" cy="213902"/>
            <a:chOff x="2123129" y="1797431"/>
            <a:chExt cx="2472585" cy="2021180"/>
          </a:xfrm>
        </p:grpSpPr>
        <p:sp>
          <p:nvSpPr>
            <p:cNvPr id="102"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104" name="Straight Connector 103"/>
          <p:cNvCxnSpPr/>
          <p:nvPr/>
        </p:nvCxnSpPr>
        <p:spPr>
          <a:xfrm>
            <a:off x="1070439" y="3414997"/>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05" name="Rectangle 152"/>
          <p:cNvSpPr/>
          <p:nvPr/>
        </p:nvSpPr>
        <p:spPr bwMode="auto">
          <a:xfrm>
            <a:off x="1009226" y="2903143"/>
            <a:ext cx="1982520" cy="4369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a:solidFill>
                  <a:srgbClr val="000000"/>
                </a:solidFill>
                <a:cs typeface="Segoe UI Light" panose="020B0502040204020203" pitchFamily="34" charset="0"/>
              </a:rPr>
              <a:t>On-premises data</a:t>
            </a:r>
          </a:p>
          <a:p>
            <a:pPr defTabSz="914367"/>
            <a:r>
              <a:rPr lang="en-US" sz="900">
                <a:solidFill>
                  <a:srgbClr val="000000"/>
                </a:solidFill>
                <a:cs typeface="Segoe UI Light" panose="020B0502040204020203" pitchFamily="34" charset="0"/>
              </a:rPr>
              <a:t>e.g. Analysis Services, SQL Server</a:t>
            </a:r>
          </a:p>
        </p:txBody>
      </p:sp>
      <p:sp>
        <p:nvSpPr>
          <p:cNvPr id="107" name="Oval 154"/>
          <p:cNvSpPr/>
          <p:nvPr/>
        </p:nvSpPr>
        <p:spPr bwMode="auto">
          <a:xfrm>
            <a:off x="644325" y="2974324"/>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08" name="Freeform 30"/>
          <p:cNvSpPr>
            <a:spLocks noEditPoints="1"/>
          </p:cNvSpPr>
          <p:nvPr/>
        </p:nvSpPr>
        <p:spPr bwMode="auto">
          <a:xfrm>
            <a:off x="726710" y="3068558"/>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cxnSp>
        <p:nvCxnSpPr>
          <p:cNvPr id="109" name="Straight Connector 108"/>
          <p:cNvCxnSpPr/>
          <p:nvPr/>
        </p:nvCxnSpPr>
        <p:spPr>
          <a:xfrm>
            <a:off x="1070439" y="3990784"/>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11" name="Rectangle 1074"/>
          <p:cNvSpPr/>
          <p:nvPr/>
        </p:nvSpPr>
        <p:spPr bwMode="auto">
          <a:xfrm>
            <a:off x="1009225" y="3313545"/>
            <a:ext cx="2065297" cy="7966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100">
                <a:solidFill>
                  <a:srgbClr val="000000"/>
                </a:solidFill>
                <a:cs typeface="Segoe UI Light" panose="020B0502040204020203" pitchFamily="34" charset="0"/>
              </a:rPr>
              <a:t>Organizational content packs</a:t>
            </a:r>
            <a:br>
              <a:rPr lang="en-US" sz="1100">
                <a:solidFill>
                  <a:srgbClr val="000000"/>
                </a:solidFill>
                <a:cs typeface="Segoe UI Light" panose="020B0502040204020203" pitchFamily="34" charset="0"/>
              </a:rPr>
            </a:br>
            <a:r>
              <a:rPr lang="en-US" sz="900" i="1">
                <a:solidFill>
                  <a:srgbClr val="000000"/>
                </a:solidFill>
                <a:cs typeface="Segoe UI Light" panose="020B0502040204020203" pitchFamily="34" charset="0"/>
              </a:rPr>
              <a:t>Corporate data sources or external data services</a:t>
            </a:r>
          </a:p>
        </p:txBody>
      </p:sp>
      <p:sp>
        <p:nvSpPr>
          <p:cNvPr id="113" name="Oval 1076"/>
          <p:cNvSpPr/>
          <p:nvPr/>
        </p:nvSpPr>
        <p:spPr bwMode="auto">
          <a:xfrm>
            <a:off x="644325" y="3516632"/>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14" name="Group 113"/>
          <p:cNvGrpSpPr/>
          <p:nvPr/>
        </p:nvGrpSpPr>
        <p:grpSpPr>
          <a:xfrm>
            <a:off x="719568" y="3604903"/>
            <a:ext cx="215269" cy="189218"/>
            <a:chOff x="681704" y="2920140"/>
            <a:chExt cx="321649" cy="282723"/>
          </a:xfrm>
          <a:solidFill>
            <a:schemeClr val="tx1"/>
          </a:solidFill>
        </p:grpSpPr>
        <p:sp>
          <p:nvSpPr>
            <p:cNvPr id="115"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6"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118" name="Straight Connector 117"/>
          <p:cNvCxnSpPr/>
          <p:nvPr/>
        </p:nvCxnSpPr>
        <p:spPr>
          <a:xfrm>
            <a:off x="1070439" y="4485462"/>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20" name="Rectangle 1081"/>
          <p:cNvSpPr/>
          <p:nvPr/>
        </p:nvSpPr>
        <p:spPr bwMode="auto">
          <a:xfrm>
            <a:off x="999799" y="3990784"/>
            <a:ext cx="1982520" cy="4466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a:solidFill>
                  <a:srgbClr val="000000"/>
                </a:solidFill>
                <a:cs typeface="Segoe UI Light" panose="020B0502040204020203" pitchFamily="34" charset="0"/>
              </a:rPr>
              <a:t>Azure services</a:t>
            </a:r>
          </a:p>
          <a:p>
            <a:pPr defTabSz="914367">
              <a:spcAft>
                <a:spcPts val="600"/>
              </a:spcAft>
            </a:pPr>
            <a:r>
              <a:rPr lang="en-US" sz="900" i="1">
                <a:solidFill>
                  <a:srgbClr val="000000"/>
                </a:solidFill>
                <a:cs typeface="Segoe UI Light" panose="020B0502040204020203" pitchFamily="34" charset="0"/>
              </a:rPr>
              <a:t>Azure SQL, Stream Analytics…</a:t>
            </a:r>
          </a:p>
        </p:txBody>
      </p:sp>
      <p:sp>
        <p:nvSpPr>
          <p:cNvPr id="122" name="Oval 1083"/>
          <p:cNvSpPr/>
          <p:nvPr/>
        </p:nvSpPr>
        <p:spPr bwMode="auto">
          <a:xfrm>
            <a:off x="644325" y="4030966"/>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23" name="Group 379"/>
          <p:cNvGrpSpPr/>
          <p:nvPr/>
        </p:nvGrpSpPr>
        <p:grpSpPr>
          <a:xfrm>
            <a:off x="710525" y="4151670"/>
            <a:ext cx="233359" cy="162454"/>
            <a:chOff x="3543365" y="7242811"/>
            <a:chExt cx="1238250" cy="862013"/>
          </a:xfrm>
          <a:solidFill>
            <a:schemeClr val="tx1"/>
          </a:solidFill>
        </p:grpSpPr>
        <p:sp>
          <p:nvSpPr>
            <p:cNvPr id="124"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7"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41" name="Rectangle 160"/>
          <p:cNvSpPr/>
          <p:nvPr/>
        </p:nvSpPr>
        <p:spPr bwMode="auto">
          <a:xfrm>
            <a:off x="999799" y="453035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a:solidFill>
                  <a:srgbClr val="000000"/>
                </a:solidFill>
                <a:cs typeface="Segoe UI Light" panose="020B0502040204020203" pitchFamily="34" charset="0"/>
              </a:rPr>
              <a:t>Excel and CSV files</a:t>
            </a:r>
          </a:p>
          <a:p>
            <a:pPr defTabSz="914367"/>
            <a:r>
              <a:rPr lang="en-IN" sz="900" i="1">
                <a:solidFill>
                  <a:srgbClr val="000000"/>
                </a:solidFill>
                <a:cs typeface="Segoe UI Light" panose="020B0502040204020203" pitchFamily="34" charset="0"/>
              </a:rPr>
              <a:t>Workbook data, flat files</a:t>
            </a:r>
          </a:p>
        </p:txBody>
      </p:sp>
      <p:sp>
        <p:nvSpPr>
          <p:cNvPr id="143" name="Oval 162"/>
          <p:cNvSpPr/>
          <p:nvPr/>
        </p:nvSpPr>
        <p:spPr bwMode="auto">
          <a:xfrm>
            <a:off x="644325" y="453035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45" name="Straight Connector 144"/>
          <p:cNvCxnSpPr/>
          <p:nvPr/>
        </p:nvCxnSpPr>
        <p:spPr>
          <a:xfrm>
            <a:off x="1070439" y="4961879"/>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49" name="Oval 162"/>
          <p:cNvSpPr/>
          <p:nvPr/>
        </p:nvSpPr>
        <p:spPr bwMode="auto">
          <a:xfrm>
            <a:off x="644325" y="5038902"/>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48" name="Rectangle 160"/>
          <p:cNvSpPr/>
          <p:nvPr/>
        </p:nvSpPr>
        <p:spPr bwMode="auto">
          <a:xfrm>
            <a:off x="999799" y="5038902"/>
            <a:ext cx="1982520" cy="4249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a:solidFill>
                  <a:srgbClr val="000000"/>
                </a:solidFill>
                <a:cs typeface="Segoe UI Light" panose="020B0502040204020203" pitchFamily="34" charset="0"/>
              </a:rPr>
              <a:t>Power BI Desktop files</a:t>
            </a:r>
          </a:p>
          <a:p>
            <a:pPr defTabSz="914367"/>
            <a:r>
              <a:rPr lang="en-IN" sz="900" i="1">
                <a:solidFill>
                  <a:srgbClr val="000000"/>
                </a:solidFill>
                <a:cs typeface="Segoe UI Light" panose="020B0502040204020203" pitchFamily="34" charset="0"/>
              </a:rPr>
              <a:t>Data from files, databases, Azure, Online Services, and other sources</a:t>
            </a:r>
          </a:p>
        </p:txBody>
      </p:sp>
      <p:sp>
        <p:nvSpPr>
          <p:cNvPr id="205" name="Isosceles Triangle 153"/>
          <p:cNvSpPr/>
          <p:nvPr/>
        </p:nvSpPr>
        <p:spPr bwMode="auto">
          <a:xfrm rot="5400000">
            <a:off x="1882570" y="3755652"/>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US" sz="900" i="1">
              <a:solidFill>
                <a:srgbClr val="FFFFFF"/>
              </a:solidFill>
              <a:cs typeface="Segoe UI Light" panose="020B0502040204020203" pitchFamily="34" charset="0"/>
            </a:endParaRPr>
          </a:p>
        </p:txBody>
      </p:sp>
      <p:pic>
        <p:nvPicPr>
          <p:cNvPr id="208" name="Picture 207"/>
          <p:cNvPicPr>
            <a:picLocks noChangeAspect="1"/>
          </p:cNvPicPr>
          <p:nvPr/>
        </p:nvPicPr>
        <p:blipFill rotWithShape="1">
          <a:blip r:embed="rId3"/>
          <a:srcRect l="6503" t="21287" r="74698" b="20220"/>
          <a:stretch/>
        </p:blipFill>
        <p:spPr>
          <a:xfrm>
            <a:off x="724230" y="5104552"/>
            <a:ext cx="228600" cy="231962"/>
          </a:xfrm>
          <a:prstGeom prst="rect">
            <a:avLst/>
          </a:prstGeom>
        </p:spPr>
      </p:pic>
      <p:grpSp>
        <p:nvGrpSpPr>
          <p:cNvPr id="21" name="Group 20"/>
          <p:cNvGrpSpPr/>
          <p:nvPr/>
        </p:nvGrpSpPr>
        <p:grpSpPr>
          <a:xfrm>
            <a:off x="4306193" y="5441922"/>
            <a:ext cx="1333108" cy="274320"/>
            <a:chOff x="4306193" y="5441922"/>
            <a:chExt cx="1333108" cy="274320"/>
          </a:xfrm>
        </p:grpSpPr>
        <p:sp>
          <p:nvSpPr>
            <p:cNvPr id="173" name="TextBox 293"/>
            <p:cNvSpPr txBox="1"/>
            <p:nvPr/>
          </p:nvSpPr>
          <p:spPr>
            <a:xfrm>
              <a:off x="4675832" y="5472564"/>
              <a:ext cx="96346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Data refresh</a:t>
              </a:r>
            </a:p>
          </p:txBody>
        </p:sp>
        <p:sp>
          <p:nvSpPr>
            <p:cNvPr id="174"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grpSp>
      <p:grpSp>
        <p:nvGrpSpPr>
          <p:cNvPr id="18" name="Group 17"/>
          <p:cNvGrpSpPr/>
          <p:nvPr/>
        </p:nvGrpSpPr>
        <p:grpSpPr>
          <a:xfrm>
            <a:off x="4306193" y="3788016"/>
            <a:ext cx="1442048" cy="268606"/>
            <a:chOff x="4306193" y="3788016"/>
            <a:chExt cx="1442048" cy="268606"/>
          </a:xfrm>
        </p:grpSpPr>
        <p:sp>
          <p:nvSpPr>
            <p:cNvPr id="176" name="TextBox 293"/>
            <p:cNvSpPr txBox="1"/>
            <p:nvPr/>
          </p:nvSpPr>
          <p:spPr>
            <a:xfrm>
              <a:off x="4675832" y="3818658"/>
              <a:ext cx="107240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Visualizations</a:t>
              </a:r>
              <a:endParaRPr lang="en-US" sz="1200">
                <a:solidFill>
                  <a:srgbClr val="000000"/>
                </a:solidFill>
                <a:ea typeface="Segoe UI" pitchFamily="34" charset="0"/>
                <a:cs typeface="Segoe UI" pitchFamily="34" charset="0"/>
              </a:endParaRPr>
            </a:p>
          </p:txBody>
        </p:sp>
        <p:sp>
          <p:nvSpPr>
            <p:cNvPr id="177" name="Freeform 176"/>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17" name="Group 16"/>
          <p:cNvGrpSpPr/>
          <p:nvPr/>
        </p:nvGrpSpPr>
        <p:grpSpPr>
          <a:xfrm>
            <a:off x="4305597" y="3236714"/>
            <a:ext cx="1646867" cy="274320"/>
            <a:chOff x="4305597" y="3236714"/>
            <a:chExt cx="1646867" cy="274320"/>
          </a:xfrm>
        </p:grpSpPr>
        <p:sp>
          <p:nvSpPr>
            <p:cNvPr id="219" name="TextBox 293"/>
            <p:cNvSpPr txBox="1"/>
            <p:nvPr/>
          </p:nvSpPr>
          <p:spPr>
            <a:xfrm>
              <a:off x="4675832" y="3268771"/>
              <a:ext cx="127663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Live dashboards</a:t>
              </a:r>
            </a:p>
          </p:txBody>
        </p:sp>
        <p:sp>
          <p:nvSpPr>
            <p:cNvPr id="220"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grpSp>
      <p:grpSp>
        <p:nvGrpSpPr>
          <p:cNvPr id="16" name="Group 15"/>
          <p:cNvGrpSpPr/>
          <p:nvPr/>
        </p:nvGrpSpPr>
        <p:grpSpPr>
          <a:xfrm>
            <a:off x="4306193" y="2634382"/>
            <a:ext cx="1497576" cy="290409"/>
            <a:chOff x="4306193" y="2634382"/>
            <a:chExt cx="1497576" cy="290409"/>
          </a:xfrm>
        </p:grpSpPr>
        <p:sp>
          <p:nvSpPr>
            <p:cNvPr id="227" name="Freeform 226"/>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228" name="TextBox 293"/>
            <p:cNvSpPr txBox="1"/>
            <p:nvPr/>
          </p:nvSpPr>
          <p:spPr>
            <a:xfrm>
              <a:off x="4675832" y="2664610"/>
              <a:ext cx="11279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Content packs</a:t>
              </a:r>
            </a:p>
          </p:txBody>
        </p:sp>
      </p:grpSp>
      <p:sp>
        <p:nvSpPr>
          <p:cNvPr id="26" name="Left Bracket 25"/>
          <p:cNvSpPr/>
          <p:nvPr/>
        </p:nvSpPr>
        <p:spPr>
          <a:xfrm>
            <a:off x="4133759" y="2811399"/>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grpSp>
        <p:nvGrpSpPr>
          <p:cNvPr id="14" name="Group 13"/>
          <p:cNvGrpSpPr/>
          <p:nvPr/>
        </p:nvGrpSpPr>
        <p:grpSpPr>
          <a:xfrm>
            <a:off x="9011801" y="2658719"/>
            <a:ext cx="2258229" cy="274320"/>
            <a:chOff x="9011801" y="2831439"/>
            <a:chExt cx="2258229" cy="274320"/>
          </a:xfrm>
        </p:grpSpPr>
        <p:sp>
          <p:nvSpPr>
            <p:cNvPr id="110" name="TextBox 293"/>
            <p:cNvSpPr txBox="1"/>
            <p:nvPr/>
          </p:nvSpPr>
          <p:spPr>
            <a:xfrm>
              <a:off x="9381693" y="2847432"/>
              <a:ext cx="18883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Sharing &amp; collaboration</a:t>
              </a:r>
            </a:p>
          </p:txBody>
        </p:sp>
        <p:sp>
          <p:nvSpPr>
            <p:cNvPr id="112" name="Freeform 111"/>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94" name="Group 93"/>
          <p:cNvGrpSpPr/>
          <p:nvPr/>
        </p:nvGrpSpPr>
        <p:grpSpPr>
          <a:xfrm>
            <a:off x="10217405" y="126609"/>
            <a:ext cx="1875360" cy="572464"/>
            <a:chOff x="10316641" y="149435"/>
            <a:chExt cx="1875360" cy="572464"/>
          </a:xfrm>
        </p:grpSpPr>
        <p:pic>
          <p:nvPicPr>
            <p:cNvPr id="95" name="Picture 94"/>
            <p:cNvPicPr>
              <a:picLocks noChangeAspect="1"/>
            </p:cNvPicPr>
            <p:nvPr/>
          </p:nvPicPr>
          <p:blipFill>
            <a:blip r:embed="rId4">
              <a:duotone>
                <a:schemeClr val="bg2">
                  <a:shade val="45000"/>
                  <a:satMod val="135000"/>
                </a:schemeClr>
                <a:prstClr val="white"/>
              </a:duotone>
              <a:lum bright="-32000"/>
            </a:blip>
            <a:stretch>
              <a:fillRect/>
            </a:stretch>
          </p:blipFill>
          <p:spPr>
            <a:xfrm>
              <a:off x="10316641" y="213005"/>
              <a:ext cx="484908" cy="445325"/>
            </a:xfrm>
            <a:prstGeom prst="rect">
              <a:avLst/>
            </a:prstGeom>
          </p:spPr>
        </p:pic>
        <p:sp>
          <p:nvSpPr>
            <p:cNvPr id="96" name="TextBox 95"/>
            <p:cNvSpPr txBox="1"/>
            <p:nvPr/>
          </p:nvSpPr>
          <p:spPr>
            <a:xfrm>
              <a:off x="10716157" y="149435"/>
              <a:ext cx="1475844" cy="572464"/>
            </a:xfrm>
            <a:prstGeom prst="rect">
              <a:avLst/>
            </a:prstGeom>
            <a:noFill/>
          </p:spPr>
          <p:txBody>
            <a:bodyPr wrap="square" lIns="182880" tIns="146304" rIns="182880" bIns="146304" rtlCol="0">
              <a:spAutoFit/>
            </a:bodyPr>
            <a:lstStyle/>
            <a:p>
              <a:pPr>
                <a:lnSpc>
                  <a:spcPct val="90000"/>
                </a:lnSpc>
                <a:spcAft>
                  <a:spcPts val="600"/>
                </a:spcAft>
              </a:pPr>
              <a:r>
                <a:rPr lang="en-US" sz="2000">
                  <a:gradFill>
                    <a:gsLst>
                      <a:gs pos="2917">
                        <a:srgbClr val="000000"/>
                      </a:gs>
                      <a:gs pos="30000">
                        <a:srgbClr val="000000"/>
                      </a:gs>
                    </a:gsLst>
                    <a:lin ang="5400000" scaled="0"/>
                  </a:gradFill>
                  <a:latin typeface="Segoe UI Light"/>
                </a:rPr>
                <a:t>Power BI</a:t>
              </a:r>
            </a:p>
          </p:txBody>
        </p:sp>
      </p:grpSp>
      <p:grpSp>
        <p:nvGrpSpPr>
          <p:cNvPr id="15" name="Group 14"/>
          <p:cNvGrpSpPr/>
          <p:nvPr/>
        </p:nvGrpSpPr>
        <p:grpSpPr>
          <a:xfrm>
            <a:off x="6395967" y="2662299"/>
            <a:ext cx="2224537" cy="232779"/>
            <a:chOff x="6395967" y="2662299"/>
            <a:chExt cx="2224537" cy="232779"/>
          </a:xfrm>
        </p:grpSpPr>
        <p:sp>
          <p:nvSpPr>
            <p:cNvPr id="210" name="TextBox 293"/>
            <p:cNvSpPr txBox="1"/>
            <p:nvPr/>
          </p:nvSpPr>
          <p:spPr>
            <a:xfrm>
              <a:off x="6744221" y="2679634"/>
              <a:ext cx="187628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Natural language query</a:t>
              </a:r>
            </a:p>
          </p:txBody>
        </p:sp>
        <p:sp>
          <p:nvSpPr>
            <p:cNvPr id="3" name="Oval Callout 2"/>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b="1">
                <a:solidFill>
                  <a:srgbClr val="000000"/>
                </a:solidFill>
                <a:ea typeface="Segoe UI" pitchFamily="34" charset="0"/>
                <a:cs typeface="Segoe UI" pitchFamily="34" charset="0"/>
              </a:endParaRPr>
            </a:p>
          </p:txBody>
        </p:sp>
      </p:grpSp>
      <p:grpSp>
        <p:nvGrpSpPr>
          <p:cNvPr id="19" name="Group 18"/>
          <p:cNvGrpSpPr/>
          <p:nvPr/>
        </p:nvGrpSpPr>
        <p:grpSpPr>
          <a:xfrm>
            <a:off x="4306193" y="4364674"/>
            <a:ext cx="983781" cy="311845"/>
            <a:chOff x="4306193" y="4364674"/>
            <a:chExt cx="983781" cy="311845"/>
          </a:xfrm>
        </p:grpSpPr>
        <p:sp>
          <p:nvSpPr>
            <p:cNvPr id="179" name="TextBox 293"/>
            <p:cNvSpPr txBox="1"/>
            <p:nvPr/>
          </p:nvSpPr>
          <p:spPr>
            <a:xfrm>
              <a:off x="4675832" y="4391568"/>
              <a:ext cx="61414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Reports</a:t>
              </a:r>
              <a:endParaRPr lang="en-US" sz="1200">
                <a:solidFill>
                  <a:srgbClr val="000000"/>
                </a:solidFill>
                <a:ea typeface="Segoe UI" pitchFamily="34" charset="0"/>
                <a:cs typeface="Segoe UI" pitchFamily="34" charset="0"/>
              </a:endParaRPr>
            </a:p>
          </p:txBody>
        </p:sp>
        <p:sp>
          <p:nvSpPr>
            <p:cNvPr id="5" name="Flowchart: Document 4"/>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0" name="Group 19"/>
          <p:cNvGrpSpPr/>
          <p:nvPr/>
        </p:nvGrpSpPr>
        <p:grpSpPr>
          <a:xfrm>
            <a:off x="3979430" y="4771518"/>
            <a:ext cx="1376075" cy="572464"/>
            <a:chOff x="3979430" y="4771518"/>
            <a:chExt cx="1376075" cy="572464"/>
          </a:xfrm>
        </p:grpSpPr>
        <p:sp>
          <p:nvSpPr>
            <p:cNvPr id="182" name="TextBox 293"/>
            <p:cNvSpPr txBox="1"/>
            <p:nvPr/>
          </p:nvSpPr>
          <p:spPr>
            <a:xfrm>
              <a:off x="4675832" y="4921262"/>
              <a:ext cx="67967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Datasets</a:t>
              </a:r>
            </a:p>
          </p:txBody>
        </p:sp>
        <p:sp>
          <p:nvSpPr>
            <p:cNvPr id="13" name="TextBox 12"/>
            <p:cNvSpPr txBox="1"/>
            <p:nvPr/>
          </p:nvSpPr>
          <p:spPr>
            <a:xfrm>
              <a:off x="3979430" y="4771518"/>
              <a:ext cx="927847" cy="572464"/>
            </a:xfrm>
            <a:prstGeom prst="rect">
              <a:avLst/>
            </a:prstGeom>
            <a:noFill/>
          </p:spPr>
          <p:txBody>
            <a:bodyPr wrap="square" lIns="182880" tIns="146304" rIns="182880" bIns="146304" rtlCol="0">
              <a:spAutoFit/>
            </a:bodyPr>
            <a:lstStyle/>
            <a:p>
              <a:pPr algn="ctr"/>
              <a:r>
                <a:rPr lang="en-US" sz="900" b="1" dirty="0">
                  <a:solidFill>
                    <a:srgbClr val="F2C812"/>
                  </a:solidFill>
                </a:rPr>
                <a:t>01001</a:t>
              </a:r>
            </a:p>
            <a:p>
              <a:pPr algn="ctr"/>
              <a:r>
                <a:rPr lang="en-US" sz="900" b="1" dirty="0">
                  <a:solidFill>
                    <a:srgbClr val="F2C812"/>
                  </a:solidFill>
                </a:rPr>
                <a:t>10101</a:t>
              </a:r>
            </a:p>
          </p:txBody>
        </p:sp>
      </p:grpSp>
      <p:sp>
        <p:nvSpPr>
          <p:cNvPr id="158" name="Rectangle 157"/>
          <p:cNvSpPr/>
          <p:nvPr/>
        </p:nvSpPr>
        <p:spPr>
          <a:xfrm>
            <a:off x="4066679" y="1704548"/>
            <a:ext cx="4018415" cy="400110"/>
          </a:xfrm>
          <a:prstGeom prst="rect">
            <a:avLst/>
          </a:prstGeom>
        </p:spPr>
        <p:txBody>
          <a:bodyPr wrap="square">
            <a:spAutoFit/>
          </a:bodyPr>
          <a:lstStyle/>
          <a:p>
            <a:pPr defTabSz="914367">
              <a:spcAft>
                <a:spcPts val="588"/>
              </a:spcAft>
            </a:pPr>
            <a:r>
              <a:rPr lang="en-US" sz="2000">
                <a:solidFill>
                  <a:srgbClr val="000000"/>
                </a:solidFill>
              </a:rPr>
              <a:t>Power BI Service</a:t>
            </a:r>
          </a:p>
        </p:txBody>
      </p:sp>
      <p:grpSp>
        <p:nvGrpSpPr>
          <p:cNvPr id="159" name="Group 158"/>
          <p:cNvGrpSpPr>
            <a:grpSpLocks noChangeAspect="1"/>
          </p:cNvGrpSpPr>
          <p:nvPr/>
        </p:nvGrpSpPr>
        <p:grpSpPr>
          <a:xfrm>
            <a:off x="6215359" y="3127602"/>
            <a:ext cx="5120640" cy="2756516"/>
            <a:chOff x="266699" y="-225976"/>
            <a:chExt cx="11319416" cy="6093390"/>
          </a:xfrm>
        </p:grpSpPr>
        <p:grpSp>
          <p:nvGrpSpPr>
            <p:cNvPr id="160" name="Group 159"/>
            <p:cNvGrpSpPr/>
            <p:nvPr/>
          </p:nvGrpSpPr>
          <p:grpSpPr>
            <a:xfrm>
              <a:off x="266699" y="-225976"/>
              <a:ext cx="11319416" cy="6093390"/>
              <a:chOff x="6856629" y="2032578"/>
              <a:chExt cx="5221473" cy="2523453"/>
            </a:xfrm>
          </p:grpSpPr>
          <p:sp>
            <p:nvSpPr>
              <p:cNvPr id="164" name="Rounded Rectangle 223"/>
              <p:cNvSpPr/>
              <p:nvPr/>
            </p:nvSpPr>
            <p:spPr bwMode="auto">
              <a:xfrm>
                <a:off x="10432181" y="2032578"/>
                <a:ext cx="616073" cy="1042089"/>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rgbClr val="A5A5A5">
                  <a:lumMod val="50000"/>
                </a:srgbClr>
              </a:solidFill>
              <a:ln w="635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err="1">
                  <a:ln>
                    <a:noFill/>
                  </a:ln>
                  <a:solidFill>
                    <a:srgbClr val="68217A"/>
                  </a:solidFill>
                  <a:effectLst/>
                  <a:uLnTx/>
                  <a:uFillTx/>
                  <a:latin typeface="Calibri" panose="020F0502020204030204"/>
                  <a:ea typeface="Segoe UI" pitchFamily="34" charset="0"/>
                  <a:cs typeface="Segoe UI" pitchFamily="34" charset="0"/>
                </a:endParaRPr>
              </a:p>
            </p:txBody>
          </p:sp>
          <p:sp>
            <p:nvSpPr>
              <p:cNvPr id="165" name="Freeform 1383"/>
              <p:cNvSpPr>
                <a:spLocks noChangeAspect="1" noEditPoints="1"/>
              </p:cNvSpPr>
              <p:nvPr/>
            </p:nvSpPr>
            <p:spPr bwMode="auto">
              <a:xfrm>
                <a:off x="6856629" y="2534980"/>
                <a:ext cx="4002717" cy="2021051"/>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rgbClr val="A5A5A5">
                  <a:lumMod val="50000"/>
                </a:srgbClr>
              </a:solidFill>
              <a:ln w="9525">
                <a:solidFill>
                  <a:sysClr val="window" lastClr="FFFFFF"/>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166" name="Group 165"/>
              <p:cNvGrpSpPr/>
              <p:nvPr/>
            </p:nvGrpSpPr>
            <p:grpSpPr>
              <a:xfrm>
                <a:off x="10432182" y="3198527"/>
                <a:ext cx="1645920" cy="1132186"/>
                <a:chOff x="1117587" y="1757085"/>
                <a:chExt cx="2372574" cy="1629559"/>
              </a:xfrm>
            </p:grpSpPr>
            <p:sp>
              <p:nvSpPr>
                <p:cNvPr id="167" name="Rounded Rectangle 89"/>
                <p:cNvSpPr>
                  <a:spLocks noChangeAspect="1"/>
                </p:cNvSpPr>
                <p:nvPr/>
              </p:nvSpPr>
              <p:spPr bwMode="auto">
                <a:xfrm rot="16200000">
                  <a:off x="1489094" y="1385578"/>
                  <a:ext cx="1629559"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rgbClr val="A5A5A5">
                    <a:lumMod val="50000"/>
                  </a:srgbClr>
                </a:solidFill>
                <a:ln w="635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err="1">
                    <a:ln>
                      <a:noFill/>
                    </a:ln>
                    <a:solidFill>
                      <a:srgbClr val="68217A"/>
                    </a:solidFill>
                    <a:effectLst/>
                    <a:uLnTx/>
                    <a:uFillTx/>
                    <a:latin typeface="Calibri" panose="020F0502020204030204"/>
                    <a:ea typeface="Segoe UI" pitchFamily="34" charset="0"/>
                    <a:cs typeface="Segoe UI" pitchFamily="34" charset="0"/>
                  </a:endParaRPr>
                </a:p>
              </p:txBody>
            </p:sp>
            <p:sp>
              <p:nvSpPr>
                <p:cNvPr id="168" name="Rectangle 167"/>
                <p:cNvSpPr/>
                <p:nvPr/>
              </p:nvSpPr>
              <p:spPr bwMode="auto">
                <a:xfrm>
                  <a:off x="3172854" y="1909278"/>
                  <a:ext cx="307998" cy="808750"/>
                </a:xfrm>
                <a:prstGeom prst="rect">
                  <a:avLst/>
                </a:prstGeom>
                <a:solidFill>
                  <a:srgbClr val="A5A5A5">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pic>
              <p:nvPicPr>
                <p:cNvPr id="169" name="Picture 168"/>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3229523" y="2500731"/>
                  <a:ext cx="195334" cy="108208"/>
                </a:xfrm>
                <a:prstGeom prst="rect">
                  <a:avLst/>
                </a:prstGeom>
              </p:spPr>
            </p:pic>
          </p:grpSp>
        </p:grpSp>
        <p:pic>
          <p:nvPicPr>
            <p:cNvPr id="161" name="Picture 160"/>
            <p:cNvPicPr>
              <a:picLocks noChangeAspect="1"/>
            </p:cNvPicPr>
            <p:nvPr/>
          </p:nvPicPr>
          <p:blipFill>
            <a:blip r:embed="rId6"/>
            <a:stretch>
              <a:fillRect/>
            </a:stretch>
          </p:blipFill>
          <p:spPr>
            <a:xfrm>
              <a:off x="1573234" y="1197427"/>
              <a:ext cx="6064253" cy="3898448"/>
            </a:xfrm>
            <a:prstGeom prst="rect">
              <a:avLst/>
            </a:prstGeom>
          </p:spPr>
        </p:pic>
        <p:pic>
          <p:nvPicPr>
            <p:cNvPr id="162" name="Picture 161"/>
            <p:cNvPicPr>
              <a:picLocks noChangeAspect="1"/>
            </p:cNvPicPr>
            <p:nvPr/>
          </p:nvPicPr>
          <p:blipFill>
            <a:blip r:embed="rId7"/>
            <a:stretch>
              <a:fillRect/>
            </a:stretch>
          </p:blipFill>
          <p:spPr>
            <a:xfrm>
              <a:off x="8143778" y="0"/>
              <a:ext cx="1097280" cy="1957805"/>
            </a:xfrm>
            <a:prstGeom prst="rect">
              <a:avLst/>
            </a:prstGeom>
          </p:spPr>
        </p:pic>
        <p:pic>
          <p:nvPicPr>
            <p:cNvPr id="163" name="Picture 162"/>
            <p:cNvPicPr>
              <a:picLocks noChangeAspect="1"/>
            </p:cNvPicPr>
            <p:nvPr/>
          </p:nvPicPr>
          <p:blipFill rotWithShape="1">
            <a:blip r:embed="rId8"/>
            <a:srcRect b="6643"/>
            <a:stretch/>
          </p:blipFill>
          <p:spPr>
            <a:xfrm>
              <a:off x="8272114" y="2784368"/>
              <a:ext cx="2834640" cy="2295525"/>
            </a:xfrm>
            <a:prstGeom prst="rect">
              <a:avLst/>
            </a:prstGeom>
          </p:spPr>
        </p:pic>
      </p:grpSp>
      <p:pic>
        <p:nvPicPr>
          <p:cNvPr id="89" name="Picture 88"/>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17951" y="4590997"/>
            <a:ext cx="236260" cy="236260"/>
          </a:xfrm>
          <a:prstGeom prst="rect">
            <a:avLst/>
          </a:prstGeom>
        </p:spPr>
      </p:pic>
    </p:spTree>
    <p:extLst>
      <p:ext uri="{BB962C8B-B14F-4D97-AF65-F5344CB8AC3E}">
        <p14:creationId xmlns:p14="http://schemas.microsoft.com/office/powerpoint/2010/main" val="19735124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Flowchart: Process 187"/>
          <p:cNvSpPr/>
          <p:nvPr/>
        </p:nvSpPr>
        <p:spPr bwMode="auto">
          <a:xfrm>
            <a:off x="391417" y="893447"/>
            <a:ext cx="3457807" cy="4315180"/>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rgbClr val="000000"/>
              </a:solidFill>
              <a:ea typeface="Segoe UI" pitchFamily="34" charset="0"/>
              <a:cs typeface="Segoe UI" pitchFamily="34" charset="0"/>
            </a:endParaRPr>
          </a:p>
        </p:txBody>
      </p:sp>
      <p:sp>
        <p:nvSpPr>
          <p:cNvPr id="450" name="Rectangle 449"/>
          <p:cNvSpPr/>
          <p:nvPr/>
        </p:nvSpPr>
        <p:spPr bwMode="auto">
          <a:xfrm>
            <a:off x="391417" y="893447"/>
            <a:ext cx="11411700" cy="4315180"/>
          </a:xfrm>
          <a:prstGeom prst="rect">
            <a:avLst/>
          </a:pr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70" name="Title 10"/>
          <p:cNvSpPr txBox="1">
            <a:spLocks/>
          </p:cNvSpPr>
          <p:nvPr/>
        </p:nvSpPr>
        <p:spPr>
          <a:xfrm>
            <a:off x="159488" y="0"/>
            <a:ext cx="1186597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r>
              <a:rPr lang="en-IN" sz="3600">
                <a:solidFill>
                  <a:srgbClr val="000000"/>
                </a:solidFill>
              </a:rPr>
              <a:t>Power BI Overview</a:t>
            </a:r>
          </a:p>
        </p:txBody>
      </p:sp>
      <p:sp>
        <p:nvSpPr>
          <p:cNvPr id="144" name="Rectangle 143"/>
          <p:cNvSpPr/>
          <p:nvPr/>
        </p:nvSpPr>
        <p:spPr bwMode="auto">
          <a:xfrm>
            <a:off x="6707573" y="5689757"/>
            <a:ext cx="5101031" cy="945787"/>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387501" defTabSz="932293" fontAlgn="base">
              <a:spcBef>
                <a:spcPct val="0"/>
              </a:spcBef>
              <a:spcAft>
                <a:spcPct val="0"/>
              </a:spcAft>
            </a:pPr>
            <a:endParaRPr lang="en-US" sz="2600">
              <a:solidFill>
                <a:srgbClr val="FFFFFF"/>
              </a:solidFill>
              <a:latin typeface="Segoe UI Light"/>
              <a:ea typeface="Segoe UI" pitchFamily="34" charset="0"/>
              <a:cs typeface="Segoe UI" pitchFamily="34" charset="0"/>
            </a:endParaRPr>
          </a:p>
        </p:txBody>
      </p:sp>
      <p:sp>
        <p:nvSpPr>
          <p:cNvPr id="145" name="Rectangle 144"/>
          <p:cNvSpPr/>
          <p:nvPr/>
        </p:nvSpPr>
        <p:spPr>
          <a:xfrm>
            <a:off x="7428667" y="5269863"/>
            <a:ext cx="2681209" cy="400110"/>
          </a:xfrm>
          <a:prstGeom prst="rect">
            <a:avLst/>
          </a:prstGeom>
        </p:spPr>
        <p:txBody>
          <a:bodyPr wrap="square">
            <a:spAutoFit/>
          </a:bodyPr>
          <a:lstStyle/>
          <a:p>
            <a:pPr algn="ctr" defTabSz="914367">
              <a:spcAft>
                <a:spcPts val="588"/>
              </a:spcAft>
            </a:pPr>
            <a:r>
              <a:rPr lang="en-US" sz="2000">
                <a:solidFill>
                  <a:srgbClr val="000000"/>
                </a:solidFill>
              </a:rPr>
              <a:t>Power BI Platform</a:t>
            </a:r>
          </a:p>
        </p:txBody>
      </p:sp>
      <p:sp>
        <p:nvSpPr>
          <p:cNvPr id="147" name="Rectangle 146"/>
          <p:cNvSpPr/>
          <p:nvPr/>
        </p:nvSpPr>
        <p:spPr>
          <a:xfrm>
            <a:off x="1189043" y="5257842"/>
            <a:ext cx="2291365" cy="400110"/>
          </a:xfrm>
          <a:prstGeom prst="rect">
            <a:avLst/>
          </a:prstGeom>
        </p:spPr>
        <p:txBody>
          <a:bodyPr wrap="square">
            <a:spAutoFit/>
          </a:bodyPr>
          <a:lstStyle/>
          <a:p>
            <a:pPr defTabSz="914367">
              <a:spcAft>
                <a:spcPts val="588"/>
              </a:spcAft>
            </a:pPr>
            <a:r>
              <a:rPr lang="en-US" sz="2000">
                <a:solidFill>
                  <a:srgbClr val="000000"/>
                </a:solidFill>
              </a:rPr>
              <a:t>Power BI Desktop</a:t>
            </a:r>
          </a:p>
        </p:txBody>
      </p:sp>
      <p:sp>
        <p:nvSpPr>
          <p:cNvPr id="192" name="Rectangle 19"/>
          <p:cNvSpPr/>
          <p:nvPr/>
        </p:nvSpPr>
        <p:spPr bwMode="auto">
          <a:xfrm>
            <a:off x="391418" y="4621648"/>
            <a:ext cx="6177980" cy="2011116"/>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solidFill>
                <a:srgbClr val="217346"/>
              </a:solidFill>
              <a:ea typeface="Segoe UI" pitchFamily="34" charset="0"/>
              <a:cs typeface="Segoe UI" pitchFamily="34" charset="0"/>
            </a:endParaRPr>
          </a:p>
        </p:txBody>
      </p:sp>
      <p:sp>
        <p:nvSpPr>
          <p:cNvPr id="149" name="Oval 950"/>
          <p:cNvSpPr>
            <a:spLocks noChangeAspect="1"/>
          </p:cNvSpPr>
          <p:nvPr/>
        </p:nvSpPr>
        <p:spPr>
          <a:xfrm>
            <a:off x="1671253" y="5747492"/>
            <a:ext cx="822960" cy="822954"/>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a:solidFill>
                  <a:srgbClr val="000000"/>
                </a:solidFill>
                <a:ea typeface="Segoe UI" pitchFamily="34" charset="0"/>
                <a:cs typeface="Segoe UI" pitchFamily="34" charset="0"/>
              </a:rPr>
              <a:t>Prepare</a:t>
            </a:r>
          </a:p>
        </p:txBody>
      </p:sp>
      <p:sp>
        <p:nvSpPr>
          <p:cNvPr id="150" name="Oval 957"/>
          <p:cNvSpPr>
            <a:spLocks noChangeAspect="1"/>
          </p:cNvSpPr>
          <p:nvPr/>
        </p:nvSpPr>
        <p:spPr>
          <a:xfrm>
            <a:off x="2849022"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a:solidFill>
                  <a:srgbClr val="000000"/>
                </a:solidFill>
                <a:ea typeface="Segoe UI" pitchFamily="34" charset="0"/>
                <a:cs typeface="Segoe UI" pitchFamily="34" charset="0"/>
              </a:rPr>
              <a:t>Explore</a:t>
            </a:r>
          </a:p>
        </p:txBody>
      </p:sp>
      <p:sp>
        <p:nvSpPr>
          <p:cNvPr id="151" name="Isosceles Triangle 48"/>
          <p:cNvSpPr/>
          <p:nvPr/>
        </p:nvSpPr>
        <p:spPr bwMode="auto">
          <a:xfrm rot="16200000" flipV="1">
            <a:off x="4918635" y="6079541"/>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err="1">
              <a:solidFill>
                <a:srgbClr val="31B42E"/>
              </a:solidFill>
              <a:ea typeface="Segoe UI" pitchFamily="34" charset="0"/>
              <a:cs typeface="Segoe UI" pitchFamily="34" charset="0"/>
            </a:endParaRPr>
          </a:p>
        </p:txBody>
      </p:sp>
      <p:sp>
        <p:nvSpPr>
          <p:cNvPr id="152" name="Oval 70"/>
          <p:cNvSpPr>
            <a:spLocks noChangeAspect="1"/>
          </p:cNvSpPr>
          <p:nvPr/>
        </p:nvSpPr>
        <p:spPr>
          <a:xfrm>
            <a:off x="5204559"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a:solidFill>
                  <a:srgbClr val="000000"/>
                </a:solidFill>
                <a:ea typeface="Segoe UI" pitchFamily="34" charset="0"/>
                <a:cs typeface="Segoe UI" pitchFamily="34" charset="0"/>
              </a:rPr>
              <a:t>Share</a:t>
            </a:r>
          </a:p>
        </p:txBody>
      </p:sp>
      <p:sp>
        <p:nvSpPr>
          <p:cNvPr id="153" name="Oval 47"/>
          <p:cNvSpPr>
            <a:spLocks noChangeAspect="1"/>
          </p:cNvSpPr>
          <p:nvPr/>
        </p:nvSpPr>
        <p:spPr>
          <a:xfrm>
            <a:off x="4026791"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a:solidFill>
                  <a:srgbClr val="000000"/>
                </a:solidFill>
                <a:ea typeface="Segoe UI" pitchFamily="34" charset="0"/>
                <a:cs typeface="Segoe UI" pitchFamily="34" charset="0"/>
              </a:rPr>
              <a:t>Report</a:t>
            </a:r>
          </a:p>
        </p:txBody>
      </p:sp>
      <p:sp>
        <p:nvSpPr>
          <p:cNvPr id="154" name="Isosceles Triangle 48"/>
          <p:cNvSpPr/>
          <p:nvPr/>
        </p:nvSpPr>
        <p:spPr bwMode="auto">
          <a:xfrm rot="16200000" flipV="1">
            <a:off x="3730878" y="6079532"/>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err="1">
              <a:solidFill>
                <a:srgbClr val="31B42E"/>
              </a:solidFill>
              <a:ea typeface="Segoe UI" pitchFamily="34" charset="0"/>
              <a:cs typeface="Segoe UI" pitchFamily="34" charset="0"/>
            </a:endParaRPr>
          </a:p>
        </p:txBody>
      </p:sp>
      <p:sp>
        <p:nvSpPr>
          <p:cNvPr id="155" name="Isosceles Triangle 48"/>
          <p:cNvSpPr/>
          <p:nvPr/>
        </p:nvSpPr>
        <p:spPr bwMode="auto">
          <a:xfrm rot="16200000" flipV="1">
            <a:off x="2546698" y="6079540"/>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err="1">
              <a:solidFill>
                <a:srgbClr val="31B42E"/>
              </a:solidFill>
              <a:ea typeface="Segoe UI" pitchFamily="34" charset="0"/>
              <a:cs typeface="Segoe UI" pitchFamily="34" charset="0"/>
            </a:endParaRPr>
          </a:p>
        </p:txBody>
      </p:sp>
      <p:sp>
        <p:nvSpPr>
          <p:cNvPr id="156" name="Freeform 155"/>
          <p:cNvSpPr>
            <a:spLocks noChangeAspect="1" noEditPoints="1"/>
          </p:cNvSpPr>
          <p:nvPr/>
        </p:nvSpPr>
        <p:spPr bwMode="black">
          <a:xfrm>
            <a:off x="1879268" y="6132421"/>
            <a:ext cx="365760" cy="29657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a:solidFill>
                <a:srgbClr val="217346"/>
              </a:solidFill>
            </a:endParaRPr>
          </a:p>
        </p:txBody>
      </p:sp>
      <p:sp>
        <p:nvSpPr>
          <p:cNvPr id="157" name="Donut 3"/>
          <p:cNvSpPr>
            <a:spLocks noChangeAspect="1"/>
          </p:cNvSpPr>
          <p:nvPr/>
        </p:nvSpPr>
        <p:spPr bwMode="auto">
          <a:xfrm>
            <a:off x="3096597" y="6155110"/>
            <a:ext cx="274320" cy="251192"/>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rgbClr val="FFFFFF"/>
              </a:solidFill>
            </a:endParaRPr>
          </a:p>
        </p:txBody>
      </p:sp>
      <p:sp>
        <p:nvSpPr>
          <p:cNvPr id="158" name="Freeform 157"/>
          <p:cNvSpPr>
            <a:spLocks noChangeAspect="1"/>
          </p:cNvSpPr>
          <p:nvPr/>
        </p:nvSpPr>
        <p:spPr bwMode="black">
          <a:xfrm>
            <a:off x="4328735" y="6146404"/>
            <a:ext cx="274320" cy="268605"/>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59" name="Freeform 158"/>
          <p:cNvSpPr>
            <a:spLocks noChangeAspect="1"/>
          </p:cNvSpPr>
          <p:nvPr/>
        </p:nvSpPr>
        <p:spPr bwMode="black">
          <a:xfrm>
            <a:off x="5459118" y="6138620"/>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a:solidFill>
                <a:srgbClr val="000000"/>
              </a:solidFill>
            </a:endParaRPr>
          </a:p>
        </p:txBody>
      </p:sp>
      <p:pic>
        <p:nvPicPr>
          <p:cNvPr id="246" name="Picture 245"/>
          <p:cNvPicPr>
            <a:picLocks noChangeAspect="1"/>
          </p:cNvPicPr>
          <p:nvPr/>
        </p:nvPicPr>
        <p:blipFill rotWithShape="1">
          <a:blip r:embed="rId3">
            <a:biLevel thresh="25000"/>
          </a:blip>
          <a:srcRect l="6503" t="21287" r="74698" b="20220"/>
          <a:stretch/>
        </p:blipFill>
        <p:spPr>
          <a:xfrm>
            <a:off x="598359" y="5854066"/>
            <a:ext cx="548640" cy="556709"/>
          </a:xfrm>
          <a:prstGeom prst="rect">
            <a:avLst/>
          </a:prstGeom>
        </p:spPr>
      </p:pic>
      <p:grpSp>
        <p:nvGrpSpPr>
          <p:cNvPr id="133" name="Group 132"/>
          <p:cNvGrpSpPr/>
          <p:nvPr/>
        </p:nvGrpSpPr>
        <p:grpSpPr>
          <a:xfrm>
            <a:off x="10217405" y="126609"/>
            <a:ext cx="1875360" cy="572464"/>
            <a:chOff x="10316641" y="149435"/>
            <a:chExt cx="1875360" cy="572464"/>
          </a:xfrm>
        </p:grpSpPr>
        <p:pic>
          <p:nvPicPr>
            <p:cNvPr id="134" name="Picture 133"/>
            <p:cNvPicPr>
              <a:picLocks noChangeAspect="1"/>
            </p:cNvPicPr>
            <p:nvPr/>
          </p:nvPicPr>
          <p:blipFill>
            <a:blip r:embed="rId4">
              <a:duotone>
                <a:schemeClr val="bg2">
                  <a:shade val="45000"/>
                  <a:satMod val="135000"/>
                </a:schemeClr>
                <a:prstClr val="white"/>
              </a:duotone>
              <a:lum bright="-32000"/>
            </a:blip>
            <a:stretch>
              <a:fillRect/>
            </a:stretch>
          </p:blipFill>
          <p:spPr>
            <a:xfrm>
              <a:off x="10316641" y="213005"/>
              <a:ext cx="484908" cy="445325"/>
            </a:xfrm>
            <a:prstGeom prst="rect">
              <a:avLst/>
            </a:prstGeom>
          </p:spPr>
        </p:pic>
        <p:sp>
          <p:nvSpPr>
            <p:cNvPr id="141" name="TextBox 140"/>
            <p:cNvSpPr txBox="1"/>
            <p:nvPr/>
          </p:nvSpPr>
          <p:spPr>
            <a:xfrm>
              <a:off x="10716157" y="149435"/>
              <a:ext cx="1475844" cy="572464"/>
            </a:xfrm>
            <a:prstGeom prst="rect">
              <a:avLst/>
            </a:prstGeom>
            <a:noFill/>
          </p:spPr>
          <p:txBody>
            <a:bodyPr wrap="square" lIns="182880" tIns="146304" rIns="182880" bIns="146304" rtlCol="0">
              <a:spAutoFit/>
            </a:bodyPr>
            <a:lstStyle/>
            <a:p>
              <a:pPr>
                <a:lnSpc>
                  <a:spcPct val="90000"/>
                </a:lnSpc>
                <a:spcAft>
                  <a:spcPts val="600"/>
                </a:spcAft>
              </a:pPr>
              <a:r>
                <a:rPr lang="en-US" sz="2000">
                  <a:gradFill>
                    <a:gsLst>
                      <a:gs pos="2917">
                        <a:srgbClr val="000000"/>
                      </a:gs>
                      <a:gs pos="30000">
                        <a:srgbClr val="000000"/>
                      </a:gs>
                    </a:gsLst>
                    <a:lin ang="5400000" scaled="0"/>
                  </a:gradFill>
                  <a:latin typeface="Segoe UI Light"/>
                </a:rPr>
                <a:t>Power BI</a:t>
              </a:r>
            </a:p>
          </p:txBody>
        </p:sp>
      </p:grpSp>
      <p:sp>
        <p:nvSpPr>
          <p:cNvPr id="143" name="Rectangle 142"/>
          <p:cNvSpPr/>
          <p:nvPr/>
        </p:nvSpPr>
        <p:spPr>
          <a:xfrm>
            <a:off x="4066679" y="960836"/>
            <a:ext cx="4018415" cy="400110"/>
          </a:xfrm>
          <a:prstGeom prst="rect">
            <a:avLst/>
          </a:prstGeom>
        </p:spPr>
        <p:txBody>
          <a:bodyPr wrap="square">
            <a:spAutoFit/>
          </a:bodyPr>
          <a:lstStyle/>
          <a:p>
            <a:pPr defTabSz="914367">
              <a:spcAft>
                <a:spcPts val="588"/>
              </a:spcAft>
            </a:pPr>
            <a:r>
              <a:rPr lang="en-US" sz="2000">
                <a:solidFill>
                  <a:srgbClr val="000000"/>
                </a:solidFill>
              </a:rPr>
              <a:t>Power BI Service</a:t>
            </a:r>
          </a:p>
        </p:txBody>
      </p:sp>
      <p:grpSp>
        <p:nvGrpSpPr>
          <p:cNvPr id="262" name="Group 261"/>
          <p:cNvGrpSpPr/>
          <p:nvPr/>
        </p:nvGrpSpPr>
        <p:grpSpPr>
          <a:xfrm>
            <a:off x="4239113" y="4661565"/>
            <a:ext cx="1333108" cy="274320"/>
            <a:chOff x="4306193" y="5441922"/>
            <a:chExt cx="1333108" cy="274320"/>
          </a:xfrm>
        </p:grpSpPr>
        <p:sp>
          <p:nvSpPr>
            <p:cNvPr id="285" name="TextBox 293"/>
            <p:cNvSpPr txBox="1"/>
            <p:nvPr/>
          </p:nvSpPr>
          <p:spPr>
            <a:xfrm>
              <a:off x="4675832" y="5472564"/>
              <a:ext cx="96346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Data refresh</a:t>
              </a:r>
            </a:p>
          </p:txBody>
        </p:sp>
        <p:sp>
          <p:nvSpPr>
            <p:cNvPr id="286"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grpSp>
      <p:grpSp>
        <p:nvGrpSpPr>
          <p:cNvPr id="287" name="Group 286"/>
          <p:cNvGrpSpPr/>
          <p:nvPr/>
        </p:nvGrpSpPr>
        <p:grpSpPr>
          <a:xfrm>
            <a:off x="4239113" y="3007659"/>
            <a:ext cx="1442048" cy="268606"/>
            <a:chOff x="4306193" y="3788016"/>
            <a:chExt cx="1442048" cy="268606"/>
          </a:xfrm>
        </p:grpSpPr>
        <p:sp>
          <p:nvSpPr>
            <p:cNvPr id="288" name="TextBox 293"/>
            <p:cNvSpPr txBox="1"/>
            <p:nvPr/>
          </p:nvSpPr>
          <p:spPr>
            <a:xfrm>
              <a:off x="4675832" y="3818658"/>
              <a:ext cx="107240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Visualizations</a:t>
              </a:r>
              <a:endParaRPr lang="en-US" sz="1200">
                <a:solidFill>
                  <a:srgbClr val="000000"/>
                </a:solidFill>
                <a:ea typeface="Segoe UI" pitchFamily="34" charset="0"/>
                <a:cs typeface="Segoe UI" pitchFamily="34" charset="0"/>
              </a:endParaRPr>
            </a:p>
          </p:txBody>
        </p:sp>
        <p:sp>
          <p:nvSpPr>
            <p:cNvPr id="289" name="Freeform 288"/>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291" name="Group 290"/>
          <p:cNvGrpSpPr/>
          <p:nvPr/>
        </p:nvGrpSpPr>
        <p:grpSpPr>
          <a:xfrm>
            <a:off x="4238517" y="2456357"/>
            <a:ext cx="1646867" cy="274320"/>
            <a:chOff x="4305597" y="3236714"/>
            <a:chExt cx="1646867" cy="274320"/>
          </a:xfrm>
        </p:grpSpPr>
        <p:sp>
          <p:nvSpPr>
            <p:cNvPr id="292" name="TextBox 293"/>
            <p:cNvSpPr txBox="1"/>
            <p:nvPr/>
          </p:nvSpPr>
          <p:spPr>
            <a:xfrm>
              <a:off x="4675832" y="3268771"/>
              <a:ext cx="127663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Live dashboards</a:t>
              </a:r>
            </a:p>
          </p:txBody>
        </p:sp>
        <p:sp>
          <p:nvSpPr>
            <p:cNvPr id="293"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grpSp>
      <p:grpSp>
        <p:nvGrpSpPr>
          <p:cNvPr id="294" name="Group 293"/>
          <p:cNvGrpSpPr/>
          <p:nvPr/>
        </p:nvGrpSpPr>
        <p:grpSpPr>
          <a:xfrm>
            <a:off x="4239113" y="1854025"/>
            <a:ext cx="1497576" cy="290409"/>
            <a:chOff x="4306193" y="2634382"/>
            <a:chExt cx="1497576" cy="290409"/>
          </a:xfrm>
        </p:grpSpPr>
        <p:sp>
          <p:nvSpPr>
            <p:cNvPr id="295" name="Freeform 294"/>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62895" fontAlgn="base">
                <a:lnSpc>
                  <a:spcPct val="90000"/>
                </a:lnSpc>
                <a:spcBef>
                  <a:spcPct val="0"/>
                </a:spcBef>
                <a:spcAft>
                  <a:spcPct val="0"/>
                </a:spcAft>
              </a:pPr>
              <a:endParaRPr lang="en-US" sz="934">
                <a:gradFill>
                  <a:gsLst>
                    <a:gs pos="0">
                      <a:srgbClr val="FFFFFF"/>
                    </a:gs>
                    <a:gs pos="100000">
                      <a:srgbClr val="FFFFFF"/>
                    </a:gs>
                  </a:gsLst>
                  <a:lin ang="5400000" scaled="0"/>
                </a:gradFill>
                <a:ea typeface="Segoe UI" pitchFamily="34" charset="0"/>
                <a:cs typeface="Segoe UI" pitchFamily="34" charset="0"/>
              </a:endParaRPr>
            </a:p>
          </p:txBody>
        </p:sp>
        <p:sp>
          <p:nvSpPr>
            <p:cNvPr id="296" name="TextBox 293"/>
            <p:cNvSpPr txBox="1"/>
            <p:nvPr/>
          </p:nvSpPr>
          <p:spPr>
            <a:xfrm>
              <a:off x="4675832" y="2664610"/>
              <a:ext cx="11279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Content packs</a:t>
              </a:r>
            </a:p>
          </p:txBody>
        </p:sp>
      </p:grpSp>
      <p:sp>
        <p:nvSpPr>
          <p:cNvPr id="297" name="Left Bracket 296"/>
          <p:cNvSpPr/>
          <p:nvPr/>
        </p:nvSpPr>
        <p:spPr>
          <a:xfrm>
            <a:off x="4066679" y="2031042"/>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grpSp>
        <p:nvGrpSpPr>
          <p:cNvPr id="298" name="Group 297"/>
          <p:cNvGrpSpPr/>
          <p:nvPr/>
        </p:nvGrpSpPr>
        <p:grpSpPr>
          <a:xfrm>
            <a:off x="8944721" y="1878362"/>
            <a:ext cx="2258229" cy="274320"/>
            <a:chOff x="9011801" y="2831439"/>
            <a:chExt cx="2258229" cy="274320"/>
          </a:xfrm>
        </p:grpSpPr>
        <p:sp>
          <p:nvSpPr>
            <p:cNvPr id="299" name="TextBox 293"/>
            <p:cNvSpPr txBox="1"/>
            <p:nvPr/>
          </p:nvSpPr>
          <p:spPr>
            <a:xfrm>
              <a:off x="9381693" y="2847432"/>
              <a:ext cx="188833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Sharing &amp; collaboration</a:t>
              </a:r>
            </a:p>
          </p:txBody>
        </p:sp>
        <p:sp>
          <p:nvSpPr>
            <p:cNvPr id="300" name="Freeform 299"/>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grpSp>
      <p:grpSp>
        <p:nvGrpSpPr>
          <p:cNvPr id="301" name="Group 300"/>
          <p:cNvGrpSpPr/>
          <p:nvPr/>
        </p:nvGrpSpPr>
        <p:grpSpPr>
          <a:xfrm>
            <a:off x="6328887" y="1881942"/>
            <a:ext cx="2224537" cy="232779"/>
            <a:chOff x="6395967" y="2662299"/>
            <a:chExt cx="2224537" cy="232779"/>
          </a:xfrm>
        </p:grpSpPr>
        <p:sp>
          <p:nvSpPr>
            <p:cNvPr id="302" name="TextBox 293"/>
            <p:cNvSpPr txBox="1"/>
            <p:nvPr/>
          </p:nvSpPr>
          <p:spPr>
            <a:xfrm>
              <a:off x="6744221" y="2679634"/>
              <a:ext cx="187628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Natural language query</a:t>
              </a:r>
            </a:p>
          </p:txBody>
        </p:sp>
        <p:sp>
          <p:nvSpPr>
            <p:cNvPr id="303" name="Oval Callout 302"/>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b="1">
                <a:solidFill>
                  <a:srgbClr val="000000"/>
                </a:solidFill>
                <a:ea typeface="Segoe UI" pitchFamily="34" charset="0"/>
                <a:cs typeface="Segoe UI" pitchFamily="34" charset="0"/>
              </a:endParaRPr>
            </a:p>
          </p:txBody>
        </p:sp>
      </p:grpSp>
      <p:grpSp>
        <p:nvGrpSpPr>
          <p:cNvPr id="304" name="Group 303"/>
          <p:cNvGrpSpPr/>
          <p:nvPr/>
        </p:nvGrpSpPr>
        <p:grpSpPr>
          <a:xfrm>
            <a:off x="4239113" y="3584317"/>
            <a:ext cx="983781" cy="311845"/>
            <a:chOff x="4306193" y="4364674"/>
            <a:chExt cx="983781" cy="311845"/>
          </a:xfrm>
        </p:grpSpPr>
        <p:sp>
          <p:nvSpPr>
            <p:cNvPr id="305" name="TextBox 293"/>
            <p:cNvSpPr txBox="1"/>
            <p:nvPr/>
          </p:nvSpPr>
          <p:spPr>
            <a:xfrm>
              <a:off x="4675832" y="4391568"/>
              <a:ext cx="61414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Reports</a:t>
              </a:r>
              <a:endParaRPr lang="en-US" sz="1200">
                <a:solidFill>
                  <a:srgbClr val="000000"/>
                </a:solidFill>
                <a:ea typeface="Segoe UI" pitchFamily="34" charset="0"/>
                <a:cs typeface="Segoe UI" pitchFamily="34" charset="0"/>
              </a:endParaRPr>
            </a:p>
          </p:txBody>
        </p:sp>
        <p:sp>
          <p:nvSpPr>
            <p:cNvPr id="306" name="Flowchart: Document 305"/>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07" name="Group 306"/>
          <p:cNvGrpSpPr/>
          <p:nvPr/>
        </p:nvGrpSpPr>
        <p:grpSpPr>
          <a:xfrm>
            <a:off x="3912350" y="3991161"/>
            <a:ext cx="1376075" cy="572464"/>
            <a:chOff x="3979430" y="4771518"/>
            <a:chExt cx="1376075" cy="572464"/>
          </a:xfrm>
        </p:grpSpPr>
        <p:sp>
          <p:nvSpPr>
            <p:cNvPr id="308" name="TextBox 293"/>
            <p:cNvSpPr txBox="1"/>
            <p:nvPr/>
          </p:nvSpPr>
          <p:spPr>
            <a:xfrm>
              <a:off x="4675832" y="4921262"/>
              <a:ext cx="67967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a:solidFill>
                    <a:srgbClr val="000000"/>
                  </a:solidFill>
                  <a:ea typeface="Segoe UI" pitchFamily="34" charset="0"/>
                  <a:cs typeface="Segoe UI" pitchFamily="34" charset="0"/>
                </a:rPr>
                <a:t>Datasets</a:t>
              </a:r>
            </a:p>
          </p:txBody>
        </p:sp>
        <p:sp>
          <p:nvSpPr>
            <p:cNvPr id="309" name="TextBox 308"/>
            <p:cNvSpPr txBox="1"/>
            <p:nvPr/>
          </p:nvSpPr>
          <p:spPr>
            <a:xfrm>
              <a:off x="3979430" y="4771518"/>
              <a:ext cx="927847" cy="572464"/>
            </a:xfrm>
            <a:prstGeom prst="rect">
              <a:avLst/>
            </a:prstGeom>
            <a:noFill/>
          </p:spPr>
          <p:txBody>
            <a:bodyPr wrap="square" lIns="182880" tIns="146304" rIns="182880" bIns="146304" rtlCol="0">
              <a:spAutoFit/>
            </a:bodyPr>
            <a:lstStyle/>
            <a:p>
              <a:pPr algn="ctr"/>
              <a:r>
                <a:rPr lang="en-US" sz="900" b="1">
                  <a:solidFill>
                    <a:srgbClr val="F2C812"/>
                  </a:solidFill>
                </a:rPr>
                <a:t>01001</a:t>
              </a:r>
            </a:p>
            <a:p>
              <a:pPr algn="ctr"/>
              <a:r>
                <a:rPr lang="en-US" sz="900" b="1">
                  <a:solidFill>
                    <a:srgbClr val="F2C812"/>
                  </a:solidFill>
                </a:rPr>
                <a:t>10101</a:t>
              </a:r>
            </a:p>
          </p:txBody>
        </p:sp>
      </p:grpSp>
      <p:sp>
        <p:nvSpPr>
          <p:cNvPr id="196" name="TextBox 195"/>
          <p:cNvSpPr txBox="1"/>
          <p:nvPr/>
        </p:nvSpPr>
        <p:spPr>
          <a:xfrm>
            <a:off x="6736403" y="5709123"/>
            <a:ext cx="1548615" cy="916902"/>
          </a:xfrm>
          <a:prstGeom prst="rect">
            <a:avLst/>
          </a:prstGeom>
          <a:noFill/>
        </p:spPr>
        <p:txBody>
          <a:bodyPr wrap="square" lIns="186521" tIns="149217" rIns="186521" bIns="149217" rtlCol="0" anchor="ctr">
            <a:spAutoFit/>
          </a:bodyPr>
          <a:lstStyle/>
          <a:p>
            <a:pPr algn="ctr" defTabSz="932597">
              <a:spcAft>
                <a:spcPts val="600"/>
              </a:spcAft>
            </a:pPr>
            <a:r>
              <a:rPr lang="en-US" sz="4000" b="1">
                <a:solidFill>
                  <a:srgbClr val="EDC30D"/>
                </a:solidFill>
              </a:rPr>
              <a:t>&lt;/&gt;</a:t>
            </a:r>
            <a:endParaRPr lang="en-US" sz="1200">
              <a:solidFill>
                <a:srgbClr val="000000"/>
              </a:solidFill>
              <a:ea typeface="Segoe UI" pitchFamily="34" charset="0"/>
              <a:cs typeface="Segoe UI" pitchFamily="34" charset="0"/>
            </a:endParaRPr>
          </a:p>
        </p:txBody>
      </p:sp>
      <p:sp>
        <p:nvSpPr>
          <p:cNvPr id="2" name="TextBox 1"/>
          <p:cNvSpPr txBox="1"/>
          <p:nvPr/>
        </p:nvSpPr>
        <p:spPr>
          <a:xfrm>
            <a:off x="8087486" y="5923303"/>
            <a:ext cx="3249693" cy="572464"/>
          </a:xfrm>
          <a:prstGeom prst="rect">
            <a:avLst/>
          </a:prstGeom>
          <a:noFill/>
        </p:spPr>
        <p:txBody>
          <a:bodyPr wrap="square" lIns="182880" tIns="146304" rIns="182880" bIns="146304" rtlCol="0">
            <a:spAutoFit/>
          </a:bodyPr>
          <a:lstStyle/>
          <a:p>
            <a:pPr>
              <a:lnSpc>
                <a:spcPct val="90000"/>
              </a:lnSpc>
              <a:spcAft>
                <a:spcPts val="600"/>
              </a:spcAft>
            </a:pPr>
            <a:r>
              <a:rPr lang="en-US" sz="2000">
                <a:solidFill>
                  <a:srgbClr val="000000"/>
                </a:solidFill>
                <a:ea typeface="Segoe UI" pitchFamily="34" charset="0"/>
                <a:cs typeface="Segoe UI" pitchFamily="34" charset="0"/>
              </a:rPr>
              <a:t>embed, extend, integrate</a:t>
            </a:r>
          </a:p>
        </p:txBody>
      </p:sp>
      <p:sp>
        <p:nvSpPr>
          <p:cNvPr id="115" name="Rectangle 114"/>
          <p:cNvSpPr/>
          <p:nvPr/>
        </p:nvSpPr>
        <p:spPr>
          <a:xfrm>
            <a:off x="730539" y="940779"/>
            <a:ext cx="1692204" cy="400110"/>
          </a:xfrm>
          <a:prstGeom prst="rect">
            <a:avLst/>
          </a:prstGeom>
        </p:spPr>
        <p:txBody>
          <a:bodyPr wrap="square">
            <a:spAutoFit/>
          </a:bodyPr>
          <a:lstStyle/>
          <a:p>
            <a:pPr defTabSz="914367">
              <a:spcAft>
                <a:spcPts val="588"/>
              </a:spcAft>
            </a:pPr>
            <a:r>
              <a:rPr lang="en-US" sz="2000">
                <a:solidFill>
                  <a:srgbClr val="000000"/>
                </a:solidFill>
              </a:rPr>
              <a:t>Data sources</a:t>
            </a:r>
          </a:p>
        </p:txBody>
      </p:sp>
      <p:cxnSp>
        <p:nvCxnSpPr>
          <p:cNvPr id="116" name="Straight Connector 115"/>
          <p:cNvCxnSpPr/>
          <p:nvPr/>
        </p:nvCxnSpPr>
        <p:spPr>
          <a:xfrm>
            <a:off x="1038540" y="2087851"/>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17" name="Rectangle 145"/>
          <p:cNvSpPr/>
          <p:nvPr/>
        </p:nvSpPr>
        <p:spPr bwMode="auto">
          <a:xfrm>
            <a:off x="982973" y="1529904"/>
            <a:ext cx="2059649" cy="4952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a:solidFill>
                  <a:srgbClr val="000000"/>
                </a:solidFill>
                <a:cs typeface="Segoe UI Light"/>
              </a:rPr>
              <a:t>Cloud-based SaaS solutions</a:t>
            </a:r>
          </a:p>
          <a:p>
            <a:pPr defTabSz="914367">
              <a:spcAft>
                <a:spcPts val="600"/>
              </a:spcAft>
            </a:pPr>
            <a:r>
              <a:rPr lang="en-US" sz="900" i="1">
                <a:solidFill>
                  <a:srgbClr val="000000"/>
                </a:solidFill>
                <a:cs typeface="Segoe UI Light"/>
              </a:rPr>
              <a:t>e.g. Marketo, Salesforce, Quickbooks, Google Analytics, …</a:t>
            </a:r>
          </a:p>
        </p:txBody>
      </p:sp>
      <p:sp>
        <p:nvSpPr>
          <p:cNvPr id="118" name="Oval 147"/>
          <p:cNvSpPr/>
          <p:nvPr/>
        </p:nvSpPr>
        <p:spPr bwMode="auto">
          <a:xfrm>
            <a:off x="612426" y="1660604"/>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19" name="Group 332"/>
          <p:cNvGrpSpPr/>
          <p:nvPr/>
        </p:nvGrpSpPr>
        <p:grpSpPr>
          <a:xfrm>
            <a:off x="664469" y="1736533"/>
            <a:ext cx="261675" cy="213902"/>
            <a:chOff x="2123129" y="1797431"/>
            <a:chExt cx="2472585" cy="2021180"/>
          </a:xfrm>
        </p:grpSpPr>
        <p:sp>
          <p:nvSpPr>
            <p:cNvPr id="120"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1"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122" name="Straight Connector 121"/>
          <p:cNvCxnSpPr/>
          <p:nvPr/>
        </p:nvCxnSpPr>
        <p:spPr>
          <a:xfrm>
            <a:off x="1038540" y="2629962"/>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23" name="Rectangle 152"/>
          <p:cNvSpPr/>
          <p:nvPr/>
        </p:nvSpPr>
        <p:spPr bwMode="auto">
          <a:xfrm>
            <a:off x="977327" y="2118108"/>
            <a:ext cx="1982520" cy="4369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a:solidFill>
                  <a:srgbClr val="000000"/>
                </a:solidFill>
                <a:cs typeface="Segoe UI Light" panose="020B0502040204020203" pitchFamily="34" charset="0"/>
              </a:rPr>
              <a:t>On-premises data</a:t>
            </a:r>
          </a:p>
          <a:p>
            <a:pPr defTabSz="914367"/>
            <a:r>
              <a:rPr lang="en-US" sz="900">
                <a:solidFill>
                  <a:srgbClr val="000000"/>
                </a:solidFill>
                <a:cs typeface="Segoe UI Light" panose="020B0502040204020203" pitchFamily="34" charset="0"/>
              </a:rPr>
              <a:t>e.g. Analysis Services, SQL Server</a:t>
            </a:r>
          </a:p>
        </p:txBody>
      </p:sp>
      <p:sp>
        <p:nvSpPr>
          <p:cNvPr id="124" name="Oval 154"/>
          <p:cNvSpPr/>
          <p:nvPr/>
        </p:nvSpPr>
        <p:spPr bwMode="auto">
          <a:xfrm>
            <a:off x="612426" y="218928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25" name="Freeform 30"/>
          <p:cNvSpPr>
            <a:spLocks noEditPoints="1"/>
          </p:cNvSpPr>
          <p:nvPr/>
        </p:nvSpPr>
        <p:spPr bwMode="auto">
          <a:xfrm>
            <a:off x="694811" y="2283523"/>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cxnSp>
        <p:nvCxnSpPr>
          <p:cNvPr id="126" name="Straight Connector 125"/>
          <p:cNvCxnSpPr/>
          <p:nvPr/>
        </p:nvCxnSpPr>
        <p:spPr>
          <a:xfrm>
            <a:off x="1038540" y="3205749"/>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27" name="Rectangle 1074"/>
          <p:cNvSpPr/>
          <p:nvPr/>
        </p:nvSpPr>
        <p:spPr bwMode="auto">
          <a:xfrm>
            <a:off x="977326" y="2528510"/>
            <a:ext cx="2065297" cy="7966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100">
                <a:solidFill>
                  <a:srgbClr val="000000"/>
                </a:solidFill>
                <a:cs typeface="Segoe UI Light" panose="020B0502040204020203" pitchFamily="34" charset="0"/>
              </a:rPr>
              <a:t>Organizational content packs</a:t>
            </a:r>
            <a:br>
              <a:rPr lang="en-US" sz="1100">
                <a:solidFill>
                  <a:srgbClr val="000000"/>
                </a:solidFill>
                <a:cs typeface="Segoe UI Light" panose="020B0502040204020203" pitchFamily="34" charset="0"/>
              </a:rPr>
            </a:br>
            <a:r>
              <a:rPr lang="en-US" sz="900" i="1">
                <a:solidFill>
                  <a:srgbClr val="000000"/>
                </a:solidFill>
                <a:cs typeface="Segoe UI Light" panose="020B0502040204020203" pitchFamily="34" charset="0"/>
              </a:rPr>
              <a:t>Corporate data sources or external data services</a:t>
            </a:r>
          </a:p>
        </p:txBody>
      </p:sp>
      <p:sp>
        <p:nvSpPr>
          <p:cNvPr id="128" name="Oval 1076"/>
          <p:cNvSpPr/>
          <p:nvPr/>
        </p:nvSpPr>
        <p:spPr bwMode="auto">
          <a:xfrm>
            <a:off x="612426" y="2731597"/>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29" name="Group 128"/>
          <p:cNvGrpSpPr/>
          <p:nvPr/>
        </p:nvGrpSpPr>
        <p:grpSpPr>
          <a:xfrm>
            <a:off x="687669" y="2819868"/>
            <a:ext cx="215269" cy="189218"/>
            <a:chOff x="681704" y="2920140"/>
            <a:chExt cx="321649" cy="282723"/>
          </a:xfrm>
          <a:solidFill>
            <a:schemeClr val="tx1"/>
          </a:solidFill>
        </p:grpSpPr>
        <p:sp>
          <p:nvSpPr>
            <p:cNvPr id="130"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132" name="Straight Connector 131"/>
          <p:cNvCxnSpPr/>
          <p:nvPr/>
        </p:nvCxnSpPr>
        <p:spPr>
          <a:xfrm>
            <a:off x="1038540" y="3700427"/>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35" name="Rectangle 1081"/>
          <p:cNvSpPr/>
          <p:nvPr/>
        </p:nvSpPr>
        <p:spPr bwMode="auto">
          <a:xfrm>
            <a:off x="967900" y="3205749"/>
            <a:ext cx="1982520" cy="4466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a:solidFill>
                  <a:srgbClr val="000000"/>
                </a:solidFill>
                <a:cs typeface="Segoe UI Light" panose="020B0502040204020203" pitchFamily="34" charset="0"/>
              </a:rPr>
              <a:t>Azure services</a:t>
            </a:r>
          </a:p>
          <a:p>
            <a:pPr defTabSz="914367">
              <a:spcAft>
                <a:spcPts val="600"/>
              </a:spcAft>
            </a:pPr>
            <a:r>
              <a:rPr lang="en-US" sz="900" i="1">
                <a:solidFill>
                  <a:srgbClr val="000000"/>
                </a:solidFill>
                <a:cs typeface="Segoe UI Light" panose="020B0502040204020203" pitchFamily="34" charset="0"/>
              </a:rPr>
              <a:t>Azure SQL, Stream Analytics…</a:t>
            </a:r>
          </a:p>
        </p:txBody>
      </p:sp>
      <p:sp>
        <p:nvSpPr>
          <p:cNvPr id="136" name="Oval 1083"/>
          <p:cNvSpPr/>
          <p:nvPr/>
        </p:nvSpPr>
        <p:spPr bwMode="auto">
          <a:xfrm>
            <a:off x="612426" y="324593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42" name="Group 379"/>
          <p:cNvGrpSpPr/>
          <p:nvPr/>
        </p:nvGrpSpPr>
        <p:grpSpPr>
          <a:xfrm>
            <a:off x="678626" y="3366635"/>
            <a:ext cx="233359" cy="162454"/>
            <a:chOff x="3543365" y="7242811"/>
            <a:chExt cx="1238250" cy="862013"/>
          </a:xfrm>
          <a:solidFill>
            <a:schemeClr val="tx1"/>
          </a:solidFill>
        </p:grpSpPr>
        <p:sp>
          <p:nvSpPr>
            <p:cNvPr id="160"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9"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80" name="Rectangle 160"/>
          <p:cNvSpPr/>
          <p:nvPr/>
        </p:nvSpPr>
        <p:spPr bwMode="auto">
          <a:xfrm>
            <a:off x="967900" y="3745316"/>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a:solidFill>
                  <a:srgbClr val="000000"/>
                </a:solidFill>
                <a:cs typeface="Segoe UI Light" panose="020B0502040204020203" pitchFamily="34" charset="0"/>
              </a:rPr>
              <a:t>Excel and CSV files</a:t>
            </a:r>
          </a:p>
          <a:p>
            <a:pPr defTabSz="914367"/>
            <a:r>
              <a:rPr lang="en-IN" sz="900" i="1">
                <a:solidFill>
                  <a:srgbClr val="000000"/>
                </a:solidFill>
                <a:cs typeface="Segoe UI Light" panose="020B0502040204020203" pitchFamily="34" charset="0"/>
              </a:rPr>
              <a:t>Workbook data, flat files</a:t>
            </a:r>
          </a:p>
        </p:txBody>
      </p:sp>
      <p:sp>
        <p:nvSpPr>
          <p:cNvPr id="181" name="Oval 162"/>
          <p:cNvSpPr/>
          <p:nvPr/>
        </p:nvSpPr>
        <p:spPr bwMode="auto">
          <a:xfrm>
            <a:off x="612426" y="3745316"/>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82" name="Straight Connector 181"/>
          <p:cNvCxnSpPr/>
          <p:nvPr/>
        </p:nvCxnSpPr>
        <p:spPr>
          <a:xfrm>
            <a:off x="1038540" y="4176844"/>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83" name="Oval 162"/>
          <p:cNvSpPr/>
          <p:nvPr/>
        </p:nvSpPr>
        <p:spPr bwMode="auto">
          <a:xfrm>
            <a:off x="612426" y="4253867"/>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84" name="Rectangle 160"/>
          <p:cNvSpPr/>
          <p:nvPr/>
        </p:nvSpPr>
        <p:spPr bwMode="auto">
          <a:xfrm>
            <a:off x="967900" y="4253867"/>
            <a:ext cx="1982520" cy="4249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a:solidFill>
                  <a:srgbClr val="000000"/>
                </a:solidFill>
                <a:cs typeface="Segoe UI Light" panose="020B0502040204020203" pitchFamily="34" charset="0"/>
              </a:rPr>
              <a:t>Power BI Desktop files</a:t>
            </a:r>
          </a:p>
          <a:p>
            <a:pPr defTabSz="914367"/>
            <a:r>
              <a:rPr lang="en-IN" sz="900" i="1">
                <a:solidFill>
                  <a:srgbClr val="000000"/>
                </a:solidFill>
                <a:cs typeface="Segoe UI Light" panose="020B0502040204020203" pitchFamily="34" charset="0"/>
              </a:rPr>
              <a:t>Data from files, databases, Azure, Online Services, and other sources</a:t>
            </a:r>
          </a:p>
        </p:txBody>
      </p:sp>
      <p:sp>
        <p:nvSpPr>
          <p:cNvPr id="185" name="Isosceles Triangle 153"/>
          <p:cNvSpPr/>
          <p:nvPr/>
        </p:nvSpPr>
        <p:spPr bwMode="auto">
          <a:xfrm rot="5400000">
            <a:off x="1850671" y="2970617"/>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US" sz="900" i="1">
              <a:solidFill>
                <a:srgbClr val="FFFFFF"/>
              </a:solidFill>
              <a:cs typeface="Segoe UI Light" panose="020B0502040204020203" pitchFamily="34" charset="0"/>
            </a:endParaRPr>
          </a:p>
        </p:txBody>
      </p:sp>
      <p:pic>
        <p:nvPicPr>
          <p:cNvPr id="186" name="Picture 185"/>
          <p:cNvPicPr>
            <a:picLocks noChangeAspect="1"/>
          </p:cNvPicPr>
          <p:nvPr/>
        </p:nvPicPr>
        <p:blipFill rotWithShape="1">
          <a:blip r:embed="rId3"/>
          <a:srcRect l="6503" t="21287" r="74698" b="20220"/>
          <a:stretch/>
        </p:blipFill>
        <p:spPr>
          <a:xfrm>
            <a:off x="692331" y="4319517"/>
            <a:ext cx="228600" cy="231962"/>
          </a:xfrm>
          <a:prstGeom prst="rect">
            <a:avLst/>
          </a:prstGeom>
        </p:spPr>
      </p:pic>
      <p:grpSp>
        <p:nvGrpSpPr>
          <p:cNvPr id="114" name="Group 113"/>
          <p:cNvGrpSpPr>
            <a:grpSpLocks noChangeAspect="1"/>
          </p:cNvGrpSpPr>
          <p:nvPr/>
        </p:nvGrpSpPr>
        <p:grpSpPr>
          <a:xfrm>
            <a:off x="6181819" y="2328901"/>
            <a:ext cx="5120640" cy="2756516"/>
            <a:chOff x="266699" y="-225976"/>
            <a:chExt cx="11319416" cy="6093390"/>
          </a:xfrm>
        </p:grpSpPr>
        <p:grpSp>
          <p:nvGrpSpPr>
            <p:cNvPr id="187" name="Group 186"/>
            <p:cNvGrpSpPr/>
            <p:nvPr/>
          </p:nvGrpSpPr>
          <p:grpSpPr>
            <a:xfrm>
              <a:off x="266699" y="-225976"/>
              <a:ext cx="11319416" cy="6093390"/>
              <a:chOff x="6856629" y="2032578"/>
              <a:chExt cx="5221473" cy="2523453"/>
            </a:xfrm>
          </p:grpSpPr>
          <p:sp>
            <p:nvSpPr>
              <p:cNvPr id="193" name="Rounded Rectangle 223"/>
              <p:cNvSpPr/>
              <p:nvPr/>
            </p:nvSpPr>
            <p:spPr bwMode="auto">
              <a:xfrm>
                <a:off x="10432181" y="2032578"/>
                <a:ext cx="616073" cy="1042089"/>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rgbClr val="A5A5A5">
                  <a:lumMod val="50000"/>
                </a:srgbClr>
              </a:solidFill>
              <a:ln w="635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err="1">
                  <a:ln>
                    <a:noFill/>
                  </a:ln>
                  <a:solidFill>
                    <a:srgbClr val="68217A"/>
                  </a:solidFill>
                  <a:effectLst/>
                  <a:uLnTx/>
                  <a:uFillTx/>
                  <a:latin typeface="Calibri" panose="020F0502020204030204"/>
                  <a:ea typeface="Segoe UI" pitchFamily="34" charset="0"/>
                  <a:cs typeface="Segoe UI" pitchFamily="34" charset="0"/>
                </a:endParaRPr>
              </a:p>
            </p:txBody>
          </p:sp>
          <p:sp>
            <p:nvSpPr>
              <p:cNvPr id="194" name="Freeform 1383"/>
              <p:cNvSpPr>
                <a:spLocks noChangeAspect="1" noEditPoints="1"/>
              </p:cNvSpPr>
              <p:nvPr/>
            </p:nvSpPr>
            <p:spPr bwMode="auto">
              <a:xfrm>
                <a:off x="6856629" y="2534980"/>
                <a:ext cx="4002717" cy="2021051"/>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rgbClr val="A5A5A5">
                  <a:lumMod val="50000"/>
                </a:srgbClr>
              </a:solidFill>
              <a:ln w="9525">
                <a:solidFill>
                  <a:sysClr val="window" lastClr="FFFFFF"/>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195" name="Group 194"/>
              <p:cNvGrpSpPr/>
              <p:nvPr/>
            </p:nvGrpSpPr>
            <p:grpSpPr>
              <a:xfrm>
                <a:off x="10432182" y="3198527"/>
                <a:ext cx="1645920" cy="1132186"/>
                <a:chOff x="1117587" y="1757085"/>
                <a:chExt cx="2372574" cy="1629559"/>
              </a:xfrm>
            </p:grpSpPr>
            <p:sp>
              <p:nvSpPr>
                <p:cNvPr id="197" name="Rounded Rectangle 89"/>
                <p:cNvSpPr>
                  <a:spLocks noChangeAspect="1"/>
                </p:cNvSpPr>
                <p:nvPr/>
              </p:nvSpPr>
              <p:spPr bwMode="auto">
                <a:xfrm rot="16200000">
                  <a:off x="1489094" y="1385578"/>
                  <a:ext cx="1629559"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rgbClr val="A5A5A5">
                    <a:lumMod val="50000"/>
                  </a:srgbClr>
                </a:solidFill>
                <a:ln w="6350" cap="flat" cmpd="sng" algn="ctr">
                  <a:solidFill>
                    <a:sysClr val="window" lastClr="FFFFFF"/>
                  </a:solidFill>
                  <a:prstDash val="solid"/>
                  <a:miter lim="800000"/>
                  <a:headEnd type="none" w="med" len="med"/>
                  <a:tailEnd type="none" w="med" len="med"/>
                </a:ln>
                <a:effectLst/>
              </p:spPr>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err="1">
                    <a:ln>
                      <a:noFill/>
                    </a:ln>
                    <a:solidFill>
                      <a:srgbClr val="68217A"/>
                    </a:solidFill>
                    <a:effectLst/>
                    <a:uLnTx/>
                    <a:uFillTx/>
                    <a:latin typeface="Calibri" panose="020F0502020204030204"/>
                    <a:ea typeface="Segoe UI" pitchFamily="34" charset="0"/>
                    <a:cs typeface="Segoe UI" pitchFamily="34" charset="0"/>
                  </a:endParaRPr>
                </a:p>
              </p:txBody>
            </p:sp>
            <p:sp>
              <p:nvSpPr>
                <p:cNvPr id="198" name="Rectangle 197"/>
                <p:cNvSpPr/>
                <p:nvPr/>
              </p:nvSpPr>
              <p:spPr bwMode="auto">
                <a:xfrm>
                  <a:off x="3172854" y="1909278"/>
                  <a:ext cx="307998" cy="808750"/>
                </a:xfrm>
                <a:prstGeom prst="rect">
                  <a:avLst/>
                </a:prstGeom>
                <a:solidFill>
                  <a:srgbClr val="A5A5A5">
                    <a:lumMod val="5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pic>
              <p:nvPicPr>
                <p:cNvPr id="199" name="Picture 198"/>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3229523" y="2500731"/>
                  <a:ext cx="195334" cy="108208"/>
                </a:xfrm>
                <a:prstGeom prst="rect">
                  <a:avLst/>
                </a:prstGeom>
              </p:spPr>
            </p:pic>
          </p:grpSp>
        </p:grpSp>
        <p:pic>
          <p:nvPicPr>
            <p:cNvPr id="189" name="Picture 188"/>
            <p:cNvPicPr>
              <a:picLocks noChangeAspect="1"/>
            </p:cNvPicPr>
            <p:nvPr/>
          </p:nvPicPr>
          <p:blipFill>
            <a:blip r:embed="rId6"/>
            <a:stretch>
              <a:fillRect/>
            </a:stretch>
          </p:blipFill>
          <p:spPr>
            <a:xfrm>
              <a:off x="1573234" y="1197427"/>
              <a:ext cx="6064253" cy="3898448"/>
            </a:xfrm>
            <a:prstGeom prst="rect">
              <a:avLst/>
            </a:prstGeom>
          </p:spPr>
        </p:pic>
        <p:pic>
          <p:nvPicPr>
            <p:cNvPr id="190" name="Picture 189"/>
            <p:cNvPicPr>
              <a:picLocks noChangeAspect="1"/>
            </p:cNvPicPr>
            <p:nvPr/>
          </p:nvPicPr>
          <p:blipFill>
            <a:blip r:embed="rId7"/>
            <a:stretch>
              <a:fillRect/>
            </a:stretch>
          </p:blipFill>
          <p:spPr>
            <a:xfrm>
              <a:off x="8143778" y="0"/>
              <a:ext cx="1097280" cy="1957805"/>
            </a:xfrm>
            <a:prstGeom prst="rect">
              <a:avLst/>
            </a:prstGeom>
          </p:spPr>
        </p:pic>
        <p:pic>
          <p:nvPicPr>
            <p:cNvPr id="191" name="Picture 190"/>
            <p:cNvPicPr>
              <a:picLocks noChangeAspect="1"/>
            </p:cNvPicPr>
            <p:nvPr/>
          </p:nvPicPr>
          <p:blipFill rotWithShape="1">
            <a:blip r:embed="rId8"/>
            <a:srcRect b="6643"/>
            <a:stretch/>
          </p:blipFill>
          <p:spPr>
            <a:xfrm>
              <a:off x="8272114" y="2784368"/>
              <a:ext cx="2834640" cy="2295525"/>
            </a:xfrm>
            <a:prstGeom prst="rect">
              <a:avLst/>
            </a:prstGeom>
          </p:spPr>
        </p:pic>
      </p:grpSp>
      <p:pic>
        <p:nvPicPr>
          <p:cNvPr id="107" name="Picture 106"/>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682782" y="3805556"/>
            <a:ext cx="236260" cy="236260"/>
          </a:xfrm>
          <a:prstGeom prst="rect">
            <a:avLst/>
          </a:prstGeom>
        </p:spPr>
      </p:pic>
    </p:spTree>
    <p:extLst>
      <p:ext uri="{BB962C8B-B14F-4D97-AF65-F5344CB8AC3E}">
        <p14:creationId xmlns:p14="http://schemas.microsoft.com/office/powerpoint/2010/main" val="6310849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4A6B970-9747-48EF-A230-42BDA9E6D38B}"/>
              </a:ext>
            </a:extLst>
          </p:cNvPr>
          <p:cNvSpPr>
            <a:spLocks noGrp="1"/>
          </p:cNvSpPr>
          <p:nvPr>
            <p:ph type="sldNum" sz="quarter" idx="11"/>
          </p:nvPr>
        </p:nvSpPr>
        <p:spPr/>
        <p:txBody>
          <a:bodyPr/>
          <a:lstStyle/>
          <a:p>
            <a:fld id="{27258FFF-F925-446B-8502-81C933981705}" type="slidenum">
              <a:rPr lang="en-US" smtClean="0">
                <a:solidFill>
                  <a:srgbClr val="505050"/>
                </a:solidFill>
              </a:rPr>
              <a:pPr/>
              <a:t>7</a:t>
            </a:fld>
            <a:endParaRPr lang="en-US">
              <a:solidFill>
                <a:srgbClr val="505050"/>
              </a:solidFill>
            </a:endParaRPr>
          </a:p>
        </p:txBody>
      </p:sp>
      <p:pic>
        <p:nvPicPr>
          <p:cNvPr id="4" name="Picture 2">
            <a:extLst>
              <a:ext uri="{FF2B5EF4-FFF2-40B4-BE49-F238E27FC236}">
                <a16:creationId xmlns:a16="http://schemas.microsoft.com/office/drawing/2014/main" id="{D32DAF2F-490B-4E8D-AF22-9DA6B6DB2A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9097" y="97133"/>
            <a:ext cx="11007689" cy="65991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29434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C8828-4B2A-495C-8C59-FE12AD9B0593}"/>
              </a:ext>
            </a:extLst>
          </p:cNvPr>
          <p:cNvSpPr>
            <a:spLocks noGrp="1"/>
          </p:cNvSpPr>
          <p:nvPr>
            <p:ph type="title"/>
          </p:nvPr>
        </p:nvSpPr>
        <p:spPr>
          <a:xfrm>
            <a:off x="584200" y="3145978"/>
            <a:ext cx="9144000" cy="387798"/>
          </a:xfrm>
        </p:spPr>
        <p:txBody>
          <a:bodyPr/>
          <a:lstStyle/>
          <a:p>
            <a:r>
              <a:rPr lang="en-US" sz="2800" b="0" dirty="0">
                <a:solidFill>
                  <a:schemeClr val="tx1"/>
                </a:solidFill>
                <a:latin typeface="HelvNeue Light for IBM"/>
              </a:rPr>
              <a:t>Power BI </a:t>
            </a:r>
            <a:r>
              <a:rPr lang="en-US" sz="2800" dirty="0">
                <a:solidFill>
                  <a:schemeClr val="tx1"/>
                </a:solidFill>
                <a:latin typeface="HelvNeue Light for IBM"/>
              </a:rPr>
              <a:t>Licensing</a:t>
            </a:r>
            <a:endParaRPr lang="en-US" sz="2800" b="0" dirty="0">
              <a:solidFill>
                <a:schemeClr val="tx1"/>
              </a:solidFill>
              <a:latin typeface="HelvNeue Light for IBM"/>
            </a:endParaRPr>
          </a:p>
        </p:txBody>
      </p:sp>
    </p:spTree>
    <p:extLst>
      <p:ext uri="{BB962C8B-B14F-4D97-AF65-F5344CB8AC3E}">
        <p14:creationId xmlns:p14="http://schemas.microsoft.com/office/powerpoint/2010/main" val="25877898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7A141-5F5A-41CA-8F35-3A6F7A58A750}"/>
              </a:ext>
            </a:extLst>
          </p:cNvPr>
          <p:cNvSpPr>
            <a:spLocks noGrp="1"/>
          </p:cNvSpPr>
          <p:nvPr>
            <p:ph type="title"/>
          </p:nvPr>
        </p:nvSpPr>
        <p:spPr>
          <a:xfrm>
            <a:off x="493209" y="561464"/>
            <a:ext cx="11306469" cy="402302"/>
          </a:xfrm>
        </p:spPr>
        <p:txBody>
          <a:bodyPr/>
          <a:lstStyle/>
          <a:p>
            <a:r>
              <a:rPr lang="en-US" dirty="0"/>
              <a:t>Power BI Licensing</a:t>
            </a:r>
          </a:p>
        </p:txBody>
      </p:sp>
      <p:sp>
        <p:nvSpPr>
          <p:cNvPr id="3" name="Text Placeholder 2">
            <a:extLst>
              <a:ext uri="{FF2B5EF4-FFF2-40B4-BE49-F238E27FC236}">
                <a16:creationId xmlns:a16="http://schemas.microsoft.com/office/drawing/2014/main" id="{3AAD1B72-BE09-401E-94C0-67138B6ABB8C}"/>
              </a:ext>
            </a:extLst>
          </p:cNvPr>
          <p:cNvSpPr>
            <a:spLocks noGrp="1"/>
          </p:cNvSpPr>
          <p:nvPr>
            <p:ph type="body" sz="quarter" idx="13"/>
          </p:nvPr>
        </p:nvSpPr>
        <p:spPr>
          <a:xfrm>
            <a:off x="2181732" y="1190683"/>
            <a:ext cx="3618381" cy="230832"/>
          </a:xfrm>
        </p:spPr>
        <p:txBody>
          <a:bodyPr vert="horz" wrap="square" lIns="0" tIns="0" rIns="0" bIns="0" rtlCol="0" anchor="t">
            <a:spAutoFit/>
          </a:bodyPr>
          <a:lstStyle/>
          <a:p>
            <a:r>
              <a:rPr lang="en-US" sz="1568" b="1" dirty="0"/>
              <a:t>Power BI Pro</a:t>
            </a:r>
            <a:endParaRPr lang="en-US" dirty="0"/>
          </a:p>
        </p:txBody>
      </p:sp>
      <p:sp>
        <p:nvSpPr>
          <p:cNvPr id="10" name="Text Placeholder 9">
            <a:extLst>
              <a:ext uri="{FF2B5EF4-FFF2-40B4-BE49-F238E27FC236}">
                <a16:creationId xmlns:a16="http://schemas.microsoft.com/office/drawing/2014/main" id="{ADD7F315-D5BB-482F-BA93-4D90A874B0F9}"/>
              </a:ext>
            </a:extLst>
          </p:cNvPr>
          <p:cNvSpPr>
            <a:spLocks noGrp="1"/>
          </p:cNvSpPr>
          <p:nvPr>
            <p:ph type="body" sz="quarter" idx="17"/>
          </p:nvPr>
        </p:nvSpPr>
        <p:spPr>
          <a:xfrm>
            <a:off x="2181733" y="1588425"/>
            <a:ext cx="3618381" cy="1829603"/>
          </a:xfrm>
        </p:spPr>
        <p:txBody>
          <a:bodyPr vert="horz" wrap="square" lIns="0" tIns="0" rIns="0" bIns="0" rtlCol="0" anchor="t">
            <a:spAutoFit/>
          </a:bodyPr>
          <a:lstStyle/>
          <a:p>
            <a:pPr marL="280121" indent="-280121">
              <a:buFont typeface="Wingdings" panose="05000000000000000000" pitchFamily="2" charset="2"/>
              <a:buChar char="q"/>
            </a:pPr>
            <a:r>
              <a:rPr lang="en-US" sz="1400" dirty="0"/>
              <a:t>Licensed by </a:t>
            </a:r>
            <a:r>
              <a:rPr lang="en-US" sz="1400" b="1" dirty="0">
                <a:solidFill>
                  <a:srgbClr val="0070C0"/>
                </a:solidFill>
              </a:rPr>
              <a:t>users</a:t>
            </a:r>
            <a:r>
              <a:rPr lang="en-US" sz="1400" dirty="0"/>
              <a:t>.</a:t>
            </a:r>
          </a:p>
          <a:p>
            <a:pPr marL="280121" indent="-280121">
              <a:buFont typeface="Wingdings" panose="05000000000000000000" pitchFamily="2" charset="2"/>
              <a:buChar char="q"/>
            </a:pPr>
            <a:r>
              <a:rPr lang="en-US" sz="1400" dirty="0"/>
              <a:t>Quick, easy-to-use self-service analytics for users requiring collaboration, dashboard sharing, ad hoc analysis, and report publishing.</a:t>
            </a:r>
          </a:p>
          <a:p>
            <a:pPr marL="280121" indent="-280121">
              <a:buFont typeface="Wingdings" panose="05000000000000000000" pitchFamily="2" charset="2"/>
              <a:buChar char="q"/>
            </a:pPr>
            <a:r>
              <a:rPr lang="en-US" sz="1400" dirty="0"/>
              <a:t>Mac users can author Power BI content in the web browser. There is no version available for Mac.</a:t>
            </a:r>
          </a:p>
        </p:txBody>
      </p:sp>
      <p:sp>
        <p:nvSpPr>
          <p:cNvPr id="14" name="Text Placeholder 2">
            <a:extLst>
              <a:ext uri="{FF2B5EF4-FFF2-40B4-BE49-F238E27FC236}">
                <a16:creationId xmlns:a16="http://schemas.microsoft.com/office/drawing/2014/main" id="{54156148-B893-4006-90A4-FCB0F0809EFE}"/>
              </a:ext>
            </a:extLst>
          </p:cNvPr>
          <p:cNvSpPr txBox="1">
            <a:spLocks/>
          </p:cNvSpPr>
          <p:nvPr/>
        </p:nvSpPr>
        <p:spPr>
          <a:xfrm>
            <a:off x="2247644" y="3780492"/>
            <a:ext cx="3618381" cy="230832"/>
          </a:xfrm>
          <a:prstGeom prst="rect">
            <a:avLst/>
          </a:prstGeom>
        </p:spPr>
        <p:txBody>
          <a:bodyPr vert="horz" wrap="square" lIns="0" tIns="0" rIns="0" bIns="0" rtlCol="0" anchor="t">
            <a:spAutoFit/>
          </a:bodyPr>
          <a:lstStyle>
            <a:lvl1pPr marL="0" marR="0" indent="0" algn="l" defTabSz="914367"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568" b="1" dirty="0"/>
              <a:t>Power BI Premium</a:t>
            </a:r>
            <a:endParaRPr lang="en-US" dirty="0"/>
          </a:p>
        </p:txBody>
      </p:sp>
      <p:sp>
        <p:nvSpPr>
          <p:cNvPr id="16" name="Text Placeholder 9">
            <a:extLst>
              <a:ext uri="{FF2B5EF4-FFF2-40B4-BE49-F238E27FC236}">
                <a16:creationId xmlns:a16="http://schemas.microsoft.com/office/drawing/2014/main" id="{E59CAD94-074F-425A-AC7B-FE3537FBA27B}"/>
              </a:ext>
            </a:extLst>
          </p:cNvPr>
          <p:cNvSpPr txBox="1">
            <a:spLocks/>
          </p:cNvSpPr>
          <p:nvPr/>
        </p:nvSpPr>
        <p:spPr>
          <a:xfrm>
            <a:off x="2247644" y="4242761"/>
            <a:ext cx="4291443" cy="2059666"/>
          </a:xfrm>
          <a:prstGeom prst="rect">
            <a:avLst/>
          </a:prstGeom>
        </p:spPr>
        <p:txBody>
          <a:bodyPr vert="horz" wrap="square" lIns="0" tIns="0" rIns="0" bIns="0" rtlCol="0" anchor="t">
            <a:spAutoFit/>
          </a:bodyPr>
          <a:lstStyle>
            <a:lvl1pPr marL="0" marR="0" indent="0" algn="l" defTabSz="914367" rtl="0" eaLnBrk="1" fontAlgn="auto" latinLnBrk="0" hangingPunct="1">
              <a:lnSpc>
                <a:spcPts val="1765"/>
              </a:lnSpc>
              <a:spcBef>
                <a:spcPts val="0"/>
              </a:spcBef>
              <a:spcAft>
                <a:spcPts val="0"/>
              </a:spcAft>
              <a:buClrTx/>
              <a:buSzPct val="90000"/>
              <a:buFont typeface="Arial" panose="020B0604020202020204" pitchFamily="34" charset="0"/>
              <a:buNone/>
              <a:tabLst/>
              <a:defRPr sz="1372" b="0" i="0" kern="1200" spc="0" baseline="0">
                <a:solidFill>
                  <a:srgbClr val="000000"/>
                </a:solidFill>
                <a:latin typeface="+mn-lt"/>
                <a:ea typeface="+mn-ea"/>
                <a:cs typeface="+mn-cs"/>
              </a:defRPr>
            </a:lvl1pPr>
            <a:lvl2pPr marL="0" marR="0" indent="0" algn="l" defTabSz="914367" rtl="0" eaLnBrk="1" fontAlgn="auto" latinLnBrk="0" hangingPunct="1">
              <a:lnSpc>
                <a:spcPts val="1765"/>
              </a:lnSpc>
              <a:spcBef>
                <a:spcPts val="0"/>
              </a:spcBef>
              <a:spcAft>
                <a:spcPts val="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0121" indent="-280121">
              <a:buFont typeface="Wingdings" panose="05000000000000000000" pitchFamily="2" charset="2"/>
              <a:buChar char="q"/>
            </a:pPr>
            <a:r>
              <a:rPr lang="en-US" sz="1400" dirty="0"/>
              <a:t>Licensed by </a:t>
            </a:r>
            <a:r>
              <a:rPr lang="en-US" sz="1400" b="1" dirty="0">
                <a:solidFill>
                  <a:srgbClr val="0070C0"/>
                </a:solidFill>
              </a:rPr>
              <a:t>consumption/capacity</a:t>
            </a:r>
            <a:r>
              <a:rPr lang="en-US" sz="1400" dirty="0">
                <a:solidFill>
                  <a:srgbClr val="0070C0"/>
                </a:solidFill>
              </a:rPr>
              <a:t>.</a:t>
            </a:r>
          </a:p>
          <a:p>
            <a:pPr marL="280121" indent="-280121">
              <a:buFont typeface="Wingdings" panose="05000000000000000000" pitchFamily="2" charset="2"/>
              <a:buChar char="q"/>
            </a:pPr>
            <a:r>
              <a:rPr lang="en-US" sz="1400" dirty="0">
                <a:solidFill>
                  <a:schemeClr val="tx1"/>
                </a:solidFill>
              </a:rPr>
              <a:t>An </a:t>
            </a:r>
            <a:r>
              <a:rPr lang="en-US" sz="1400" b="1" dirty="0">
                <a:solidFill>
                  <a:srgbClr val="0070C0"/>
                </a:solidFill>
              </a:rPr>
              <a:t>add-on</a:t>
            </a:r>
            <a:r>
              <a:rPr lang="en-US" sz="1400" dirty="0">
                <a:solidFill>
                  <a:schemeClr val="tx1"/>
                </a:solidFill>
              </a:rPr>
              <a:t> to Power BI Pro for projects requiring heightened performance and the ability to publish reports and dashboards to consumers.</a:t>
            </a:r>
          </a:p>
          <a:p>
            <a:pPr marL="280121" indent="-280121">
              <a:buFont typeface="Wingdings" panose="05000000000000000000" pitchFamily="2" charset="2"/>
              <a:buChar char="q"/>
            </a:pPr>
            <a:r>
              <a:rPr lang="en-US" sz="1400" dirty="0">
                <a:solidFill>
                  <a:schemeClr val="tx1"/>
                </a:solidFill>
              </a:rPr>
              <a:t>Acquire more features like Power BI Deployment Pipeline (</a:t>
            </a:r>
            <a:r>
              <a:rPr lang="en-US" sz="1400" dirty="0" err="1">
                <a:solidFill>
                  <a:schemeClr val="tx1"/>
                </a:solidFill>
              </a:rPr>
              <a:t>BIOps</a:t>
            </a:r>
            <a:r>
              <a:rPr lang="en-US" sz="1400" dirty="0">
                <a:solidFill>
                  <a:schemeClr val="tx1"/>
                </a:solidFill>
              </a:rPr>
              <a:t>), Auto ML capabilities etc.</a:t>
            </a:r>
          </a:p>
          <a:p>
            <a:pPr marL="280121" indent="-280121">
              <a:buFont typeface="Wingdings" panose="05000000000000000000" pitchFamily="2" charset="2"/>
              <a:buChar char="q"/>
            </a:pPr>
            <a:r>
              <a:rPr lang="en-US" sz="1400" dirty="0">
                <a:solidFill>
                  <a:schemeClr val="tx1"/>
                </a:solidFill>
              </a:rPr>
              <a:t>Plan the sizing using calculator </a:t>
            </a:r>
            <a:r>
              <a:rPr lang="en-US" sz="1400" dirty="0">
                <a:solidFill>
                  <a:schemeClr val="tx1"/>
                </a:solidFill>
                <a:hlinkClick r:id="rId3"/>
              </a:rPr>
              <a:t>here</a:t>
            </a:r>
            <a:r>
              <a:rPr lang="en-US" sz="1400" dirty="0">
                <a:solidFill>
                  <a:schemeClr val="tx1"/>
                </a:solidFill>
              </a:rPr>
              <a:t>.</a:t>
            </a:r>
          </a:p>
          <a:p>
            <a:pPr marL="280121" indent="-280121">
              <a:buFont typeface="Wingdings" panose="05000000000000000000" pitchFamily="2" charset="2"/>
              <a:buChar char="q"/>
            </a:pPr>
            <a:r>
              <a:rPr lang="en-US" sz="1400" dirty="0">
                <a:solidFill>
                  <a:schemeClr val="tx1"/>
                </a:solidFill>
              </a:rPr>
              <a:t>Power BI Premium subscriptions are purchased by administrators in the Microsoft 365 admin center.</a:t>
            </a:r>
          </a:p>
        </p:txBody>
      </p:sp>
      <p:sp>
        <p:nvSpPr>
          <p:cNvPr id="18" name="Text Placeholder 2">
            <a:extLst>
              <a:ext uri="{FF2B5EF4-FFF2-40B4-BE49-F238E27FC236}">
                <a16:creationId xmlns:a16="http://schemas.microsoft.com/office/drawing/2014/main" id="{53C82FED-8B17-4631-882B-10F596F7FCA8}"/>
              </a:ext>
            </a:extLst>
          </p:cNvPr>
          <p:cNvSpPr txBox="1">
            <a:spLocks/>
          </p:cNvSpPr>
          <p:nvPr/>
        </p:nvSpPr>
        <p:spPr>
          <a:xfrm>
            <a:off x="7376080" y="3780492"/>
            <a:ext cx="3618381" cy="230832"/>
          </a:xfrm>
          <a:prstGeom prst="rect">
            <a:avLst/>
          </a:prstGeom>
        </p:spPr>
        <p:txBody>
          <a:bodyPr vert="horz" wrap="square" lIns="0" tIns="0" rIns="0" bIns="0" rtlCol="0" anchor="t">
            <a:spAutoFit/>
          </a:bodyPr>
          <a:lstStyle>
            <a:lvl1pPr marL="0" marR="0" indent="0" algn="l" defTabSz="914367"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568" b="1" dirty="0"/>
              <a:t>Power BI Embedded</a:t>
            </a:r>
            <a:endParaRPr lang="en-US" dirty="0"/>
          </a:p>
        </p:txBody>
      </p:sp>
      <p:sp>
        <p:nvSpPr>
          <p:cNvPr id="20" name="Text Placeholder 9">
            <a:extLst>
              <a:ext uri="{FF2B5EF4-FFF2-40B4-BE49-F238E27FC236}">
                <a16:creationId xmlns:a16="http://schemas.microsoft.com/office/drawing/2014/main" id="{5FD207EE-10D8-4F70-8ACC-C535DDB40919}"/>
              </a:ext>
            </a:extLst>
          </p:cNvPr>
          <p:cNvSpPr txBox="1">
            <a:spLocks/>
          </p:cNvSpPr>
          <p:nvPr/>
        </p:nvSpPr>
        <p:spPr>
          <a:xfrm>
            <a:off x="7376080" y="4225454"/>
            <a:ext cx="3618381" cy="1598002"/>
          </a:xfrm>
          <a:prstGeom prst="rect">
            <a:avLst/>
          </a:prstGeom>
        </p:spPr>
        <p:txBody>
          <a:bodyPr vert="horz" wrap="square" lIns="0" tIns="0" rIns="0" bIns="0" rtlCol="0" anchor="t">
            <a:spAutoFit/>
          </a:bodyPr>
          <a:lstStyle>
            <a:lvl1pPr marL="0" marR="0" indent="0" algn="l" defTabSz="914367" rtl="0" eaLnBrk="1" fontAlgn="auto" latinLnBrk="0" hangingPunct="1">
              <a:lnSpc>
                <a:spcPts val="1765"/>
              </a:lnSpc>
              <a:spcBef>
                <a:spcPts val="0"/>
              </a:spcBef>
              <a:spcAft>
                <a:spcPts val="0"/>
              </a:spcAft>
              <a:buClrTx/>
              <a:buSzPct val="90000"/>
              <a:buFont typeface="Arial" panose="020B0604020202020204" pitchFamily="34" charset="0"/>
              <a:buNone/>
              <a:tabLst/>
              <a:defRPr sz="1372" b="0" i="0" kern="1200" spc="0" baseline="0">
                <a:solidFill>
                  <a:srgbClr val="000000"/>
                </a:solidFill>
                <a:latin typeface="+mn-lt"/>
                <a:ea typeface="+mn-ea"/>
                <a:cs typeface="+mn-cs"/>
              </a:defRPr>
            </a:lvl1pPr>
            <a:lvl2pPr marL="0" marR="0" indent="0" algn="l" defTabSz="914367" rtl="0" eaLnBrk="1" fontAlgn="auto" latinLnBrk="0" hangingPunct="1">
              <a:lnSpc>
                <a:spcPts val="1765"/>
              </a:lnSpc>
              <a:spcBef>
                <a:spcPts val="0"/>
              </a:spcBef>
              <a:spcAft>
                <a:spcPts val="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0121" indent="-280121">
              <a:buFont typeface="Wingdings" panose="05000000000000000000" pitchFamily="2" charset="2"/>
              <a:buChar char="q"/>
            </a:pPr>
            <a:r>
              <a:rPr lang="en-US" sz="1400" dirty="0"/>
              <a:t>Licensed by </a:t>
            </a:r>
            <a:r>
              <a:rPr lang="en-US" sz="1400" b="1" dirty="0">
                <a:solidFill>
                  <a:srgbClr val="0070C0"/>
                </a:solidFill>
              </a:rPr>
              <a:t>consumption/capacity</a:t>
            </a:r>
            <a:r>
              <a:rPr lang="en-US" sz="1400" dirty="0"/>
              <a:t>.</a:t>
            </a:r>
          </a:p>
          <a:p>
            <a:pPr marL="280121" indent="-280121">
              <a:buFont typeface="Wingdings" panose="05000000000000000000" pitchFamily="2" charset="2"/>
              <a:buChar char="q"/>
            </a:pPr>
            <a:r>
              <a:rPr lang="en-US" sz="1400" dirty="0"/>
              <a:t>An ISV &amp; developer offering for adding analytics &amp; visuals into applications built &amp; distributed without requiring per user licensing.</a:t>
            </a:r>
          </a:p>
          <a:p>
            <a:pPr marL="280121" indent="-280121">
              <a:buFont typeface="Wingdings" panose="05000000000000000000" pitchFamily="2" charset="2"/>
              <a:buChar char="q"/>
            </a:pPr>
            <a:r>
              <a:rPr lang="en-US" sz="1400" dirty="0"/>
              <a:t>Requires one Power BI Pro license for authentication.</a:t>
            </a:r>
          </a:p>
        </p:txBody>
      </p:sp>
      <p:sp>
        <p:nvSpPr>
          <p:cNvPr id="4" name="Text Placeholder 2">
            <a:extLst>
              <a:ext uri="{FF2B5EF4-FFF2-40B4-BE49-F238E27FC236}">
                <a16:creationId xmlns:a16="http://schemas.microsoft.com/office/drawing/2014/main" id="{F87F3B49-0821-478B-8D28-FF6E86766148}"/>
              </a:ext>
            </a:extLst>
          </p:cNvPr>
          <p:cNvSpPr txBox="1">
            <a:spLocks/>
          </p:cNvSpPr>
          <p:nvPr/>
        </p:nvSpPr>
        <p:spPr>
          <a:xfrm>
            <a:off x="493209" y="6427694"/>
            <a:ext cx="3618381" cy="205056"/>
          </a:xfrm>
          <a:prstGeom prst="rect">
            <a:avLst/>
          </a:prstGeom>
        </p:spPr>
        <p:txBody>
          <a:bodyPr vert="horz" wrap="square" lIns="0" tIns="0" rIns="0" bIns="0" rtlCol="0" anchor="t">
            <a:spAutoFit/>
          </a:bodyPr>
          <a:lstStyle>
            <a:lvl1pPr marL="0" marR="0" indent="0" algn="l" defTabSz="914367"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050" dirty="0">
                <a:solidFill>
                  <a:schemeClr val="bg1">
                    <a:lumMod val="65000"/>
                  </a:schemeClr>
                </a:solidFill>
                <a:latin typeface="+mn-lt"/>
              </a:rPr>
              <a:t>Remark: the content is last updated as of Dec 2020 </a:t>
            </a:r>
            <a:endParaRPr lang="en-US" sz="1000" dirty="0">
              <a:solidFill>
                <a:schemeClr val="bg1">
                  <a:lumMod val="65000"/>
                </a:schemeClr>
              </a:solidFill>
              <a:latin typeface="+mn-lt"/>
            </a:endParaRPr>
          </a:p>
        </p:txBody>
      </p:sp>
      <p:sp>
        <p:nvSpPr>
          <p:cNvPr id="5" name="Rectangle 4">
            <a:extLst>
              <a:ext uri="{FF2B5EF4-FFF2-40B4-BE49-F238E27FC236}">
                <a16:creationId xmlns:a16="http://schemas.microsoft.com/office/drawing/2014/main" id="{2E1C45C7-37AD-4D33-98F3-7D2F57BF3EC7}"/>
              </a:ext>
            </a:extLst>
          </p:cNvPr>
          <p:cNvSpPr/>
          <p:nvPr/>
        </p:nvSpPr>
        <p:spPr bwMode="auto">
          <a:xfrm>
            <a:off x="2181732" y="1482574"/>
            <a:ext cx="1703207"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defTabSz="913927" fontAlgn="base">
              <a:spcBef>
                <a:spcPct val="0"/>
              </a:spcBef>
              <a:spcAft>
                <a:spcPct val="0"/>
              </a:spcAft>
              <a:defRPr/>
            </a:pPr>
            <a:endParaRPr lang="en-US" sz="1961">
              <a:gradFill>
                <a:gsLst>
                  <a:gs pos="5439">
                    <a:srgbClr val="F8F8F8"/>
                  </a:gs>
                  <a:gs pos="10000">
                    <a:srgbClr val="F8F8F8"/>
                  </a:gs>
                </a:gsLst>
                <a:lin ang="5400000" scaled="0"/>
              </a:gradFill>
              <a:latin typeface="Segoe UI"/>
            </a:endParaRPr>
          </a:p>
        </p:txBody>
      </p:sp>
      <p:sp>
        <p:nvSpPr>
          <p:cNvPr id="6" name="Rectangle 5">
            <a:extLst>
              <a:ext uri="{FF2B5EF4-FFF2-40B4-BE49-F238E27FC236}">
                <a16:creationId xmlns:a16="http://schemas.microsoft.com/office/drawing/2014/main" id="{7A97E415-8B9E-49A2-BD86-58D626EF2EFC}"/>
              </a:ext>
            </a:extLst>
          </p:cNvPr>
          <p:cNvSpPr/>
          <p:nvPr/>
        </p:nvSpPr>
        <p:spPr bwMode="auto">
          <a:xfrm>
            <a:off x="2287717" y="4100543"/>
            <a:ext cx="1703207"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defTabSz="913927" fontAlgn="base">
              <a:spcBef>
                <a:spcPct val="0"/>
              </a:spcBef>
              <a:spcAft>
                <a:spcPct val="0"/>
              </a:spcAft>
              <a:defRPr/>
            </a:pPr>
            <a:endParaRPr lang="en-US" sz="1961">
              <a:gradFill>
                <a:gsLst>
                  <a:gs pos="5439">
                    <a:srgbClr val="F8F8F8"/>
                  </a:gs>
                  <a:gs pos="10000">
                    <a:srgbClr val="F8F8F8"/>
                  </a:gs>
                </a:gsLst>
                <a:lin ang="5400000" scaled="0"/>
              </a:gradFill>
              <a:latin typeface="Segoe UI"/>
            </a:endParaRPr>
          </a:p>
        </p:txBody>
      </p:sp>
      <p:sp>
        <p:nvSpPr>
          <p:cNvPr id="7" name="Rectangle 6">
            <a:extLst>
              <a:ext uri="{FF2B5EF4-FFF2-40B4-BE49-F238E27FC236}">
                <a16:creationId xmlns:a16="http://schemas.microsoft.com/office/drawing/2014/main" id="{9559CAD3-75C0-4CFF-B591-B6848BC9DE1B}"/>
              </a:ext>
            </a:extLst>
          </p:cNvPr>
          <p:cNvSpPr/>
          <p:nvPr/>
        </p:nvSpPr>
        <p:spPr bwMode="auto">
          <a:xfrm>
            <a:off x="7376080" y="4100543"/>
            <a:ext cx="1703207"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defTabSz="913927" fontAlgn="base">
              <a:spcBef>
                <a:spcPct val="0"/>
              </a:spcBef>
              <a:spcAft>
                <a:spcPct val="0"/>
              </a:spcAft>
              <a:defRPr/>
            </a:pPr>
            <a:endParaRPr lang="en-US" sz="1961">
              <a:gradFill>
                <a:gsLst>
                  <a:gs pos="5439">
                    <a:srgbClr val="F8F8F8"/>
                  </a:gs>
                  <a:gs pos="10000">
                    <a:srgbClr val="F8F8F8"/>
                  </a:gs>
                </a:gsLst>
                <a:lin ang="5400000" scaled="0"/>
              </a:gradFill>
              <a:latin typeface="Segoe UI"/>
            </a:endParaRPr>
          </a:p>
        </p:txBody>
      </p:sp>
      <p:sp>
        <p:nvSpPr>
          <p:cNvPr id="28" name="Arrow: Pentagon 27">
            <a:extLst>
              <a:ext uri="{FF2B5EF4-FFF2-40B4-BE49-F238E27FC236}">
                <a16:creationId xmlns:a16="http://schemas.microsoft.com/office/drawing/2014/main" id="{7004EED9-6203-48A6-9B34-F839C42BD9FE}"/>
              </a:ext>
            </a:extLst>
          </p:cNvPr>
          <p:cNvSpPr/>
          <p:nvPr/>
        </p:nvSpPr>
        <p:spPr>
          <a:xfrm>
            <a:off x="215706" y="1738341"/>
            <a:ext cx="1171886" cy="1310356"/>
          </a:xfrm>
          <a:prstGeom prst="homePlate">
            <a:avLst>
              <a:gd name="adj" fmla="val 23865"/>
            </a:avLst>
          </a:prstGeom>
          <a:no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r" defTabSz="932472" fontAlgn="base">
              <a:lnSpc>
                <a:spcPct val="90000"/>
              </a:lnSpc>
              <a:spcBef>
                <a:spcPct val="0"/>
              </a:spcBef>
              <a:spcAft>
                <a:spcPct val="0"/>
              </a:spcAft>
            </a:pPr>
            <a:r>
              <a:rPr lang="en-US" sz="1600" dirty="0">
                <a:solidFill>
                  <a:srgbClr val="0078D7"/>
                </a:solidFill>
                <a:latin typeface="Segoe UI Semibold" panose="020B0702040204020203" pitchFamily="34" charset="0"/>
                <a:cs typeface="Segoe UI" charset="0"/>
              </a:rPr>
              <a:t>User-based</a:t>
            </a:r>
          </a:p>
        </p:txBody>
      </p:sp>
      <p:sp>
        <p:nvSpPr>
          <p:cNvPr id="29" name="Arrow: Pentagon 28">
            <a:extLst>
              <a:ext uri="{FF2B5EF4-FFF2-40B4-BE49-F238E27FC236}">
                <a16:creationId xmlns:a16="http://schemas.microsoft.com/office/drawing/2014/main" id="{CC196C3A-0065-48F2-B6FE-DB74967F4A8D}"/>
              </a:ext>
            </a:extLst>
          </p:cNvPr>
          <p:cNvSpPr/>
          <p:nvPr/>
        </p:nvSpPr>
        <p:spPr>
          <a:xfrm>
            <a:off x="210032" y="4317015"/>
            <a:ext cx="1171885" cy="1470297"/>
          </a:xfrm>
          <a:prstGeom prst="homePlate">
            <a:avLst>
              <a:gd name="adj" fmla="val 17331"/>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91440" bIns="146304" numCol="1" spcCol="0" rtlCol="0" fromWordArt="0" anchor="ctr" anchorCtr="0" forceAA="0" compatLnSpc="1">
            <a:prstTxWarp prst="textNoShape">
              <a:avLst/>
            </a:prstTxWarp>
            <a:noAutofit/>
          </a:bodyPr>
          <a:lstStyle/>
          <a:p>
            <a:pPr algn="r" defTabSz="932472" fontAlgn="base">
              <a:lnSpc>
                <a:spcPct val="90000"/>
              </a:lnSpc>
              <a:spcBef>
                <a:spcPct val="0"/>
              </a:spcBef>
              <a:spcAft>
                <a:spcPct val="0"/>
              </a:spcAft>
            </a:pPr>
            <a:r>
              <a:rPr lang="en-US" sz="1600" dirty="0">
                <a:solidFill>
                  <a:srgbClr val="0078D7"/>
                </a:solidFill>
                <a:latin typeface="Segoe UI Semibold" panose="020B0702040204020203" pitchFamily="34" charset="0"/>
                <a:cs typeface="Segoe UI" charset="0"/>
              </a:rPr>
              <a:t>Capacity-based</a:t>
            </a:r>
          </a:p>
        </p:txBody>
      </p:sp>
      <p:sp>
        <p:nvSpPr>
          <p:cNvPr id="30" name="Isosceles Triangle 31">
            <a:extLst>
              <a:ext uri="{FF2B5EF4-FFF2-40B4-BE49-F238E27FC236}">
                <a16:creationId xmlns:a16="http://schemas.microsoft.com/office/drawing/2014/main" id="{057F33AA-3EEA-42F5-839D-1EB580921D23}"/>
              </a:ext>
            </a:extLst>
          </p:cNvPr>
          <p:cNvSpPr/>
          <p:nvPr/>
        </p:nvSpPr>
        <p:spPr>
          <a:xfrm rot="5400000">
            <a:off x="339759" y="2184925"/>
            <a:ext cx="2141783" cy="324423"/>
          </a:xfrm>
          <a:custGeom>
            <a:avLst/>
            <a:gdLst>
              <a:gd name="connsiteX0" fmla="*/ 0 w 3934939"/>
              <a:gd name="connsiteY0" fmla="*/ 384890 h 384890"/>
              <a:gd name="connsiteX1" fmla="*/ 1967470 w 3934939"/>
              <a:gd name="connsiteY1" fmla="*/ 0 h 384890"/>
              <a:gd name="connsiteX2" fmla="*/ 3934939 w 3934939"/>
              <a:gd name="connsiteY2" fmla="*/ 384890 h 384890"/>
              <a:gd name="connsiteX3" fmla="*/ 0 w 3934939"/>
              <a:gd name="connsiteY3" fmla="*/ 384890 h 384890"/>
              <a:gd name="connsiteX0" fmla="*/ 0 w 3934939"/>
              <a:gd name="connsiteY0" fmla="*/ 384890 h 469590"/>
              <a:gd name="connsiteX1" fmla="*/ 1967470 w 3934939"/>
              <a:gd name="connsiteY1" fmla="*/ 0 h 469590"/>
              <a:gd name="connsiteX2" fmla="*/ 3934939 w 3934939"/>
              <a:gd name="connsiteY2" fmla="*/ 384890 h 469590"/>
              <a:gd name="connsiteX3" fmla="*/ 2070893 w 3934939"/>
              <a:gd name="connsiteY3" fmla="*/ 469590 h 469590"/>
              <a:gd name="connsiteX4" fmla="*/ 0 w 3934939"/>
              <a:gd name="connsiteY4" fmla="*/ 384890 h 469590"/>
              <a:gd name="connsiteX0" fmla="*/ 2070893 w 3934939"/>
              <a:gd name="connsiteY0" fmla="*/ 469590 h 561030"/>
              <a:gd name="connsiteX1" fmla="*/ 0 w 3934939"/>
              <a:gd name="connsiteY1" fmla="*/ 384890 h 561030"/>
              <a:gd name="connsiteX2" fmla="*/ 1967470 w 3934939"/>
              <a:gd name="connsiteY2" fmla="*/ 0 h 561030"/>
              <a:gd name="connsiteX3" fmla="*/ 3934939 w 3934939"/>
              <a:gd name="connsiteY3" fmla="*/ 384890 h 561030"/>
              <a:gd name="connsiteX4" fmla="*/ 2162333 w 3934939"/>
              <a:gd name="connsiteY4" fmla="*/ 561030 h 561030"/>
              <a:gd name="connsiteX0" fmla="*/ 0 w 3934939"/>
              <a:gd name="connsiteY0" fmla="*/ 384890 h 561030"/>
              <a:gd name="connsiteX1" fmla="*/ 1967470 w 3934939"/>
              <a:gd name="connsiteY1" fmla="*/ 0 h 561030"/>
              <a:gd name="connsiteX2" fmla="*/ 3934939 w 3934939"/>
              <a:gd name="connsiteY2" fmla="*/ 384890 h 561030"/>
              <a:gd name="connsiteX3" fmla="*/ 2162333 w 3934939"/>
              <a:gd name="connsiteY3" fmla="*/ 561030 h 561030"/>
              <a:gd name="connsiteX0" fmla="*/ 0 w 3934939"/>
              <a:gd name="connsiteY0" fmla="*/ 384890 h 384890"/>
              <a:gd name="connsiteX1" fmla="*/ 1967470 w 3934939"/>
              <a:gd name="connsiteY1" fmla="*/ 0 h 384890"/>
              <a:gd name="connsiteX2" fmla="*/ 3934939 w 3934939"/>
              <a:gd name="connsiteY2" fmla="*/ 384890 h 384890"/>
            </a:gdLst>
            <a:ahLst/>
            <a:cxnLst>
              <a:cxn ang="0">
                <a:pos x="connsiteX0" y="connsiteY0"/>
              </a:cxn>
              <a:cxn ang="0">
                <a:pos x="connsiteX1" y="connsiteY1"/>
              </a:cxn>
              <a:cxn ang="0">
                <a:pos x="connsiteX2" y="connsiteY2"/>
              </a:cxn>
            </a:cxnLst>
            <a:rect l="l" t="t" r="r" b="b"/>
            <a:pathLst>
              <a:path w="3934939" h="384890">
                <a:moveTo>
                  <a:pt x="0" y="384890"/>
                </a:moveTo>
                <a:lnTo>
                  <a:pt x="1967470" y="0"/>
                </a:lnTo>
                <a:lnTo>
                  <a:pt x="3934939" y="384890"/>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a:endParaRPr>
          </a:p>
        </p:txBody>
      </p:sp>
      <p:sp>
        <p:nvSpPr>
          <p:cNvPr id="31" name="Isosceles Triangle 31">
            <a:extLst>
              <a:ext uri="{FF2B5EF4-FFF2-40B4-BE49-F238E27FC236}">
                <a16:creationId xmlns:a16="http://schemas.microsoft.com/office/drawing/2014/main" id="{A3A93B22-0987-4548-8E5C-53E6F79F6676}"/>
              </a:ext>
            </a:extLst>
          </p:cNvPr>
          <p:cNvSpPr/>
          <p:nvPr/>
        </p:nvSpPr>
        <p:spPr>
          <a:xfrm rot="5400000">
            <a:off x="339759" y="4882112"/>
            <a:ext cx="2141783" cy="324423"/>
          </a:xfrm>
          <a:custGeom>
            <a:avLst/>
            <a:gdLst>
              <a:gd name="connsiteX0" fmla="*/ 0 w 3934939"/>
              <a:gd name="connsiteY0" fmla="*/ 384890 h 384890"/>
              <a:gd name="connsiteX1" fmla="*/ 1967470 w 3934939"/>
              <a:gd name="connsiteY1" fmla="*/ 0 h 384890"/>
              <a:gd name="connsiteX2" fmla="*/ 3934939 w 3934939"/>
              <a:gd name="connsiteY2" fmla="*/ 384890 h 384890"/>
              <a:gd name="connsiteX3" fmla="*/ 0 w 3934939"/>
              <a:gd name="connsiteY3" fmla="*/ 384890 h 384890"/>
              <a:gd name="connsiteX0" fmla="*/ 0 w 3934939"/>
              <a:gd name="connsiteY0" fmla="*/ 384890 h 469590"/>
              <a:gd name="connsiteX1" fmla="*/ 1967470 w 3934939"/>
              <a:gd name="connsiteY1" fmla="*/ 0 h 469590"/>
              <a:gd name="connsiteX2" fmla="*/ 3934939 w 3934939"/>
              <a:gd name="connsiteY2" fmla="*/ 384890 h 469590"/>
              <a:gd name="connsiteX3" fmla="*/ 2070893 w 3934939"/>
              <a:gd name="connsiteY3" fmla="*/ 469590 h 469590"/>
              <a:gd name="connsiteX4" fmla="*/ 0 w 3934939"/>
              <a:gd name="connsiteY4" fmla="*/ 384890 h 469590"/>
              <a:gd name="connsiteX0" fmla="*/ 2070893 w 3934939"/>
              <a:gd name="connsiteY0" fmla="*/ 469590 h 561030"/>
              <a:gd name="connsiteX1" fmla="*/ 0 w 3934939"/>
              <a:gd name="connsiteY1" fmla="*/ 384890 h 561030"/>
              <a:gd name="connsiteX2" fmla="*/ 1967470 w 3934939"/>
              <a:gd name="connsiteY2" fmla="*/ 0 h 561030"/>
              <a:gd name="connsiteX3" fmla="*/ 3934939 w 3934939"/>
              <a:gd name="connsiteY3" fmla="*/ 384890 h 561030"/>
              <a:gd name="connsiteX4" fmla="*/ 2162333 w 3934939"/>
              <a:gd name="connsiteY4" fmla="*/ 561030 h 561030"/>
              <a:gd name="connsiteX0" fmla="*/ 0 w 3934939"/>
              <a:gd name="connsiteY0" fmla="*/ 384890 h 561030"/>
              <a:gd name="connsiteX1" fmla="*/ 1967470 w 3934939"/>
              <a:gd name="connsiteY1" fmla="*/ 0 h 561030"/>
              <a:gd name="connsiteX2" fmla="*/ 3934939 w 3934939"/>
              <a:gd name="connsiteY2" fmla="*/ 384890 h 561030"/>
              <a:gd name="connsiteX3" fmla="*/ 2162333 w 3934939"/>
              <a:gd name="connsiteY3" fmla="*/ 561030 h 561030"/>
              <a:gd name="connsiteX0" fmla="*/ 0 w 3934939"/>
              <a:gd name="connsiteY0" fmla="*/ 384890 h 384890"/>
              <a:gd name="connsiteX1" fmla="*/ 1967470 w 3934939"/>
              <a:gd name="connsiteY1" fmla="*/ 0 h 384890"/>
              <a:gd name="connsiteX2" fmla="*/ 3934939 w 3934939"/>
              <a:gd name="connsiteY2" fmla="*/ 384890 h 384890"/>
            </a:gdLst>
            <a:ahLst/>
            <a:cxnLst>
              <a:cxn ang="0">
                <a:pos x="connsiteX0" y="connsiteY0"/>
              </a:cxn>
              <a:cxn ang="0">
                <a:pos x="connsiteX1" y="connsiteY1"/>
              </a:cxn>
              <a:cxn ang="0">
                <a:pos x="connsiteX2" y="connsiteY2"/>
              </a:cxn>
            </a:cxnLst>
            <a:rect l="l" t="t" r="r" b="b"/>
            <a:pathLst>
              <a:path w="3934939" h="384890">
                <a:moveTo>
                  <a:pt x="0" y="384890"/>
                </a:moveTo>
                <a:lnTo>
                  <a:pt x="1967470" y="0"/>
                </a:lnTo>
                <a:lnTo>
                  <a:pt x="3934939" y="384890"/>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a:endParaRPr>
          </a:p>
        </p:txBody>
      </p:sp>
      <p:sp>
        <p:nvSpPr>
          <p:cNvPr id="8" name="Text Placeholder 2">
            <a:extLst>
              <a:ext uri="{FF2B5EF4-FFF2-40B4-BE49-F238E27FC236}">
                <a16:creationId xmlns:a16="http://schemas.microsoft.com/office/drawing/2014/main" id="{241809E2-2079-4773-9EDE-0FA3501CF190}"/>
              </a:ext>
            </a:extLst>
          </p:cNvPr>
          <p:cNvSpPr txBox="1">
            <a:spLocks/>
          </p:cNvSpPr>
          <p:nvPr/>
        </p:nvSpPr>
        <p:spPr>
          <a:xfrm>
            <a:off x="7270095" y="1190683"/>
            <a:ext cx="3618381" cy="230832"/>
          </a:xfrm>
          <a:prstGeom prst="rect">
            <a:avLst/>
          </a:prstGeom>
        </p:spPr>
        <p:txBody>
          <a:bodyPr vert="horz" wrap="square" lIns="0" tIns="0" rIns="0" bIns="0" rtlCol="0" anchor="t">
            <a:spAutoFit/>
          </a:bodyPr>
          <a:lstStyle>
            <a:lvl1pPr marL="0" marR="0" indent="0" algn="l" defTabSz="914367"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568" b="1" dirty="0"/>
              <a:t>Power BI Premium Per User (PPU)</a:t>
            </a:r>
            <a:endParaRPr lang="en-US" dirty="0"/>
          </a:p>
        </p:txBody>
      </p:sp>
      <p:sp>
        <p:nvSpPr>
          <p:cNvPr id="9" name="Text Placeholder 9">
            <a:extLst>
              <a:ext uri="{FF2B5EF4-FFF2-40B4-BE49-F238E27FC236}">
                <a16:creationId xmlns:a16="http://schemas.microsoft.com/office/drawing/2014/main" id="{E5817F94-8EC7-4263-A95D-D620FD8EE17C}"/>
              </a:ext>
            </a:extLst>
          </p:cNvPr>
          <p:cNvSpPr txBox="1">
            <a:spLocks/>
          </p:cNvSpPr>
          <p:nvPr/>
        </p:nvSpPr>
        <p:spPr>
          <a:xfrm>
            <a:off x="7270096" y="1588425"/>
            <a:ext cx="3910039" cy="1598771"/>
          </a:xfrm>
          <a:prstGeom prst="rect">
            <a:avLst/>
          </a:prstGeom>
        </p:spPr>
        <p:txBody>
          <a:bodyPr vert="horz" wrap="square" lIns="0" tIns="0" rIns="0" bIns="0" rtlCol="0" anchor="t">
            <a:spAutoFit/>
          </a:bodyPr>
          <a:lstStyle>
            <a:lvl1pPr marL="0" marR="0" indent="0" algn="l" defTabSz="914367" rtl="0" eaLnBrk="1" fontAlgn="auto" latinLnBrk="0" hangingPunct="1">
              <a:lnSpc>
                <a:spcPts val="1765"/>
              </a:lnSpc>
              <a:spcBef>
                <a:spcPts val="0"/>
              </a:spcBef>
              <a:spcAft>
                <a:spcPts val="0"/>
              </a:spcAft>
              <a:buClrTx/>
              <a:buSzPct val="90000"/>
              <a:buFont typeface="Arial" panose="020B0604020202020204" pitchFamily="34" charset="0"/>
              <a:buNone/>
              <a:tabLst/>
              <a:defRPr sz="1372" b="0" i="0" kern="1200" spc="0" baseline="0">
                <a:solidFill>
                  <a:srgbClr val="000000"/>
                </a:solidFill>
                <a:latin typeface="+mn-lt"/>
                <a:ea typeface="+mn-ea"/>
                <a:cs typeface="+mn-cs"/>
              </a:defRPr>
            </a:lvl1pPr>
            <a:lvl2pPr marL="0" marR="0" indent="0" algn="l" defTabSz="914367" rtl="0" eaLnBrk="1" fontAlgn="auto" latinLnBrk="0" hangingPunct="1">
              <a:lnSpc>
                <a:spcPts val="1765"/>
              </a:lnSpc>
              <a:spcBef>
                <a:spcPts val="0"/>
              </a:spcBef>
              <a:spcAft>
                <a:spcPts val="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0121" indent="-280121">
              <a:buFont typeface="Wingdings" panose="05000000000000000000" pitchFamily="2" charset="2"/>
              <a:buChar char="q"/>
            </a:pPr>
            <a:r>
              <a:rPr lang="en-US" sz="1400" dirty="0"/>
              <a:t>Licensed by </a:t>
            </a:r>
            <a:r>
              <a:rPr lang="en-US" sz="1400" b="1" dirty="0">
                <a:solidFill>
                  <a:srgbClr val="0070C0"/>
                </a:solidFill>
              </a:rPr>
              <a:t>users</a:t>
            </a:r>
            <a:r>
              <a:rPr lang="en-US" sz="1400" dirty="0"/>
              <a:t>.</a:t>
            </a:r>
          </a:p>
          <a:p>
            <a:pPr marL="280121" indent="-280121">
              <a:buFont typeface="Wingdings" panose="05000000000000000000" pitchFamily="2" charset="2"/>
              <a:buChar char="q"/>
            </a:pPr>
            <a:r>
              <a:rPr lang="en-US" sz="1400" dirty="0"/>
              <a:t>GA on April, 2, 2021 at a price of $20 per user, per month. </a:t>
            </a:r>
          </a:p>
          <a:p>
            <a:pPr marL="280121" indent="-280121">
              <a:buFont typeface="Wingdings" panose="05000000000000000000" pitchFamily="2" charset="2"/>
              <a:buChar char="q"/>
            </a:pPr>
            <a:r>
              <a:rPr lang="en-US" sz="1400" dirty="0"/>
              <a:t>Get Automated machine learning (</a:t>
            </a:r>
            <a:r>
              <a:rPr lang="en-US" sz="1400" dirty="0" err="1"/>
              <a:t>AutoML</a:t>
            </a:r>
            <a:r>
              <a:rPr lang="en-US" sz="1400" dirty="0"/>
              <a:t>), Cognitive Service, and Deployment pipelines capabilities.</a:t>
            </a:r>
          </a:p>
          <a:p>
            <a:pPr marL="280121" indent="-280121">
              <a:buFont typeface="Wingdings" panose="05000000000000000000" pitchFamily="2" charset="2"/>
              <a:buChar char="q"/>
            </a:pPr>
            <a:r>
              <a:rPr lang="en-US" sz="1400" dirty="0"/>
              <a:t>Support for Pixel perfect paginated reports</a:t>
            </a:r>
          </a:p>
        </p:txBody>
      </p:sp>
      <p:sp>
        <p:nvSpPr>
          <p:cNvPr id="11" name="Rectangle 10">
            <a:extLst>
              <a:ext uri="{FF2B5EF4-FFF2-40B4-BE49-F238E27FC236}">
                <a16:creationId xmlns:a16="http://schemas.microsoft.com/office/drawing/2014/main" id="{AA26CA78-0EDA-488C-AFA7-D52E14F7CB9B}"/>
              </a:ext>
            </a:extLst>
          </p:cNvPr>
          <p:cNvSpPr/>
          <p:nvPr/>
        </p:nvSpPr>
        <p:spPr bwMode="auto">
          <a:xfrm>
            <a:off x="7270095" y="1482574"/>
            <a:ext cx="1703207"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defTabSz="913927" fontAlgn="base">
              <a:spcBef>
                <a:spcPct val="0"/>
              </a:spcBef>
              <a:spcAft>
                <a:spcPct val="0"/>
              </a:spcAft>
              <a:defRPr/>
            </a:pPr>
            <a:endParaRPr lang="en-US" sz="1961">
              <a:gradFill>
                <a:gsLst>
                  <a:gs pos="5439">
                    <a:srgbClr val="F8F8F8"/>
                  </a:gs>
                  <a:gs pos="10000">
                    <a:srgbClr val="F8F8F8"/>
                  </a:gs>
                </a:gsLst>
                <a:lin ang="5400000" scaled="0"/>
              </a:gradFill>
              <a:latin typeface="Segoe UI"/>
            </a:endParaRPr>
          </a:p>
        </p:txBody>
      </p:sp>
    </p:spTree>
    <p:extLst>
      <p:ext uri="{BB962C8B-B14F-4D97-AF65-F5344CB8AC3E}">
        <p14:creationId xmlns:p14="http://schemas.microsoft.com/office/powerpoint/2010/main" val="284906289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750"/>
                                        <p:tgtEl>
                                          <p:spTgt spid="30"/>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31"/>
                                        </p:tgtEl>
                                        <p:attrNameLst>
                                          <p:attrName>style.visibility</p:attrName>
                                        </p:attrNameLst>
                                      </p:cBhvr>
                                      <p:to>
                                        <p:strVal val="visible"/>
                                      </p:to>
                                    </p:set>
                                    <p:animEffect transition="in" filter="fade">
                                      <p:cBhvr>
                                        <p:cTn id="10" dur="75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B Product Families 2013">
  <a:themeElements>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8DAB7D18-9A9C-442A-B50E-F6F6DCC92343}" vid="{626FD01B-D220-44C7-964F-5ACF063E0159}"/>
    </a:ext>
  </a:extLst>
</a:theme>
</file>

<file path=ppt/theme/theme10.xml><?xml version="1.0" encoding="utf-8"?>
<a:theme xmlns:a="http://schemas.openxmlformats.org/drawingml/2006/main" name="6-50001_WPC 2016 Breakout Template">
  <a:themeElements>
    <a:clrScheme name="WPC 2016 colors">
      <a:dk1>
        <a:srgbClr val="505050"/>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Session_16x9_Template.potx" id="{085148F9-3FB5-45CD-9508-2D9F57AE2938}" vid="{2AB61A27-A5F8-4D15-B4C3-BC1FC60C2EA2}"/>
    </a:ext>
  </a:extLst>
</a:theme>
</file>

<file path=ppt/theme/theme11.xml><?xml version="1.0" encoding="utf-8"?>
<a:theme xmlns:a="http://schemas.openxmlformats.org/drawingml/2006/main" name="Depth">
  <a:themeElements>
    <a:clrScheme name="Depth">
      <a:dk1>
        <a:sysClr val="windowText" lastClr="000000"/>
      </a:dk1>
      <a:lt1>
        <a:sysClr val="window" lastClr="FFFFFF"/>
      </a:lt1>
      <a:dk2>
        <a:srgbClr val="455F51"/>
      </a:dk2>
      <a:lt2>
        <a:srgbClr val="94D7E4"/>
      </a:lt2>
      <a:accent1>
        <a:srgbClr val="41AEBD"/>
      </a:accent1>
      <a:accent2>
        <a:srgbClr val="97E9D5"/>
      </a:accent2>
      <a:accent3>
        <a:srgbClr val="A2CF49"/>
      </a:accent3>
      <a:accent4>
        <a:srgbClr val="608F3D"/>
      </a:accent4>
      <a:accent5>
        <a:srgbClr val="F4DE3A"/>
      </a:accent5>
      <a:accent6>
        <a:srgbClr val="FCB11C"/>
      </a:accent6>
      <a:hlink>
        <a:srgbClr val="FBCA98"/>
      </a:hlink>
      <a:folHlink>
        <a:srgbClr val="D3B86D"/>
      </a:folHlink>
    </a:clrScheme>
    <a:fontScheme name="Depth">
      <a:majorFont>
        <a:latin typeface="Corbel" panose="020B0503020204020204"/>
        <a:ea typeface=""/>
        <a:cs typeface=""/>
        <a:font script="Jpan" typeface="メイリオ"/>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メイリオ"/>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pth" id="{7BEAFC2A-325C-49C4-AC08-2B765DA903F9}" vid="{1735E755-43E6-43AA-ABA2-C989ECC79AF5}"/>
    </a:ext>
  </a:extLst>
</a:theme>
</file>

<file path=ppt/theme/theme12.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4F09737C-ADEF-4314-AB56-4A518DF7B933}" vid="{87A94877-8473-4FD7-A13A-DB9D3F7775DC}"/>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3.xml><?xml version="1.0" encoding="utf-8"?>
<a:theme xmlns:a="http://schemas.openxmlformats.org/drawingml/2006/main" name="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C368DC25-1282-4557-ABE4-C430953F55E7}" vid="{DF86A506-7C87-4108-ACCF-805A6FBA29B1}"/>
    </a:ext>
  </a:extLst>
</a:theme>
</file>

<file path=ppt/theme/theme4.xml><?xml version="1.0" encoding="utf-8"?>
<a:theme xmlns:a="http://schemas.openxmlformats.org/drawingml/2006/main" name="1_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AEFB2B92-6146-4D35-B115-93F8C1A1610B}" vid="{59FFE97B-E829-4402-9AE9-5B72E31092E7}"/>
    </a:ext>
  </a:extLst>
</a:theme>
</file>

<file path=ppt/theme/theme5.xml><?xml version="1.0" encoding="utf-8"?>
<a:theme xmlns:a="http://schemas.openxmlformats.org/drawingml/2006/main" name="2_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AEFB2B92-6146-4D35-B115-93F8C1A1610B}" vid="{59FFE97B-E829-4402-9AE9-5B72E31092E7}"/>
    </a:ext>
  </a:extLst>
</a:theme>
</file>

<file path=ppt/theme/theme6.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7.xml><?xml version="1.0" encoding="utf-8"?>
<a:theme xmlns:a="http://schemas.openxmlformats.org/drawingml/2006/main" name="6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potx" id="{FAF767A5-BCA3-49EF-AE3A-1B2ED41E981A}" vid="{079C5C20-462B-42D4-8EFB-8051F7048BDC}"/>
    </a:ext>
  </a:extLst>
</a:theme>
</file>

<file path=ppt/theme/theme8.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9.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Override1.xml><?xml version="1.0" encoding="utf-8"?>
<a:themeOverride xmlns:a="http://schemas.openxmlformats.org/drawingml/2006/main">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themeOverride>
</file>

<file path=ppt/theme/themeOverride2.xml><?xml version="1.0" encoding="utf-8"?>
<a:themeOverride xmlns:a="http://schemas.openxmlformats.org/drawingml/2006/main">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themeOverride>
</file>

<file path=ppt/theme/themeOverride3.xml><?xml version="1.0" encoding="utf-8"?>
<a:themeOverride xmlns:a="http://schemas.openxmlformats.org/drawingml/2006/main">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2.xml><?xml version="1.0" encoding="utf-8"?>
<?mso-contentType ?>
<SharedContentType xmlns="Microsoft.SharePoint.Taxonomy.ContentTypeSync" SourceId="e385fb40-52d4-4fae-9c5b-3e8ff8a5878e" ContentTypeId="0x0101000E4CB7077FEE4FF7AE86D4A500EEC7800300F96E2758736AEF45AFCE0C190C2A9DEC" PreviousValue="false"/>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Description xmlns="230e9df3-be65-4c73-a93b-d1236ebd677e">This is a level 200 Power BI deck tailored towards IT Professionals. This deck describes the Power BI features and benefits for the IT Pro. It is intended to complement the Power BI capabilities level 200 deck. </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sales presentations</TermName>
          <TermId xmlns="http://schemas.microsoft.com/office/infopath/2007/PartnerControls">355751b2-6406-4ba2-8a81-0ca1b45d0070</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Sanjay Soni</DisplayName>
        <AccountId>234</AccountId>
        <AccountType/>
      </UserInfo>
    </Owner>
    <PublishDate xmlns="230E9DF3-BE65-4C73-A93B-D1236EBD677E">2016-04-27T07:00:00+00:00</PublishDat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SQL Server Marketing</TermName>
          <TermId xmlns="http://schemas.microsoft.com/office/infopath/2007/PartnerControls">bb7921b3-c1d8-4da4-b894-8b6075d9546d</TermId>
        </TermInfo>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SQL Server Domain</TermName>
          <TermId xmlns="http://schemas.microsoft.com/office/infopath/2007/PartnerControls">0c0f1824-39dc-4b26-8c74-eff4364b812b</TermId>
        </TermInfo>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s>
    </eb54ac91059940029a3cc8a4ff5af673>
    <PublishingPageContent xmlns="http://schemas.microsoft.com/sharepoint/v3" xsi:nil="true"/>
    <ContentID xmlns="230e9df3-be65-4c73-a93b-d1236ebd677e">KC02-23-77079</ContentID>
    <Coowner xmlns="230e9df3-be65-4c73-a93b-d1236ebd677e">
      <UserInfo>
        <DisplayName>i:0#.f|membership|meeryan@microsoft.com</DisplayName>
        <AccountId>37</AccountId>
        <AccountType/>
      </UserInfo>
      <UserInfo>
        <DisplayName>i:0#.f|membership|v-anmarv@microsoft.com</DisplayName>
        <AccountId>45</AccountId>
        <AccountType/>
      </UserInfo>
      <UserInfo>
        <DisplayName>i:0#.f|membership|v-caicha@microsoft.com</DisplayName>
        <AccountId>637</AccountId>
        <AccountType/>
      </UserInfo>
      <UserInfo>
        <DisplayName>i:0#.f|membership|v-danaja@microsoft.com</DisplayName>
        <AccountId>176</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SQL Server</TermName>
          <TermId xmlns="http://schemas.microsoft.com/office/infopath/2007/PartnerControls">261ba873-f3ab-420e-96d6-e3004596a551</TermId>
        </TermInfo>
        <TermInfo xmlns="http://schemas.microsoft.com/office/infopath/2007/PartnerControls">
          <TermName xmlns="http://schemas.microsoft.com/office/infopath/2007/PartnerControls">Microsoft SQL Server Business Intelligence</TermName>
          <TermId xmlns="http://schemas.microsoft.com/office/infopath/2007/PartnerControls">9ffb7045-1f1b-41c0-987f-ffdc7c6f53c0</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99682991-10896/Power%20BI%20IT%20Pro%20Deck%20L200.png</Url>
      <Description>https://microsoft.sharepoint.com/sites/Infopedia_G01KC/Media/Thumbnails/G01KC-99682991-10896/Power BI IT Pro Deck L200.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business intelligence</TermName>
          <TermId xmlns="http://schemas.microsoft.com/office/infopath/2007/PartnerControls">e1f9659f-bde9-4479-81f9-2bc6e8ec0057</TermId>
        </TermInfo>
        <TermInfo xmlns="http://schemas.microsoft.com/office/infopath/2007/PartnerControls">
          <TermName xmlns="http://schemas.microsoft.com/office/infopath/2007/PartnerControls">Power BI solution</TermName>
          <TermId xmlns="http://schemas.microsoft.com/office/infopath/2007/PartnerControls">a774047b-2f39-4ee6-a302-4d53f94b9400</TermId>
        </TermInfo>
      </Terms>
    </i0d941ee1e744ffea7aeee9924c91cbb>
    <RoutingRuleDescription xmlns="http://schemas.microsoft.com/sharepoint/v3" xsi:nil="true"/>
    <PublishingExpirationDate xmlns="http://schemas.microsoft.com/sharepoint/v3" xsi:nil="true"/>
    <Update_x0020_Parent_x0020_Child_x0020_Relation_x0028_1_x0029_0 xmlns="b3bc04a5-d503-43b1-b98c-a8cf663329d9">
      <Url xsi:nil="true"/>
      <Description xsi:nil="true"/>
    </Update_x0020_Parent_x0020_Child_x0020_Relation_x0028_1_x0029_0>
    <AverageRating xmlns="http://schemas.microsoft.com/sharepoint/v3"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b4224c12c78d42ea9b214de0badf8358 xmlns="230e9df3-be65-4c73-a93b-d1236ebd677e">
      <Terms xmlns="http://schemas.microsoft.com/office/infopath/2007/PartnerControls"/>
    </b4224c12c78d42ea9b214de0badf8358>
    <TaxCatchAll xmlns="230e9df3-be65-4c73-a93b-d1236ebd677e">
      <Value>399</Value>
      <Value>14</Value>
      <Value>166</Value>
      <Value>42</Value>
      <Value>231</Value>
      <Value>82</Value>
      <Value>108</Value>
      <Value>22</Value>
      <Value>598</Value>
      <Value>73</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m6c7b4717b6346e6a075a59dd47eac69>
    <kf34bcdc8fc34e479d3f94c6210e8e27 xmlns="230e9df3-be65-4c73-a93b-d1236ebd677e">
      <Terms xmlns="http://schemas.microsoft.com/office/infopath/2007/PartnerControls"/>
    </kf34bcdc8fc34e479d3f94c6210e8e27>
    <GenericText2 xmlns="230e9df3-be65-4c73-a93b-d1236ebd677e">G01KC-1-10896</GenericText2>
    <_dlc_DocId xmlns="230e9df3-be65-4c73-a93b-d1236ebd677e">G01KC-99682991-13912</_dlc_DocId>
    <_dlc_DocIdUrl xmlns="230e9df3-be65-4c73-a93b-d1236ebd677e">
      <Url>https://microsoft.sharepoint.com/sites/Infopedia_G01KC/_layouts/15/DocIdRedir.aspx?ID=G01KC-99682991-13912</Url>
      <Description>G01KC-99682991-13912</Description>
    </_dlc_DocIdUrl>
    <ODSWF2_x0028_1_x0029_ xmlns="b3bc04a5-d503-43b1-b98c-a8cf663329d9">
      <Url xsi:nil="true"/>
      <Description xsi:nil="true"/>
    </ODSWF2_x0028_1_x0029_>
    <ODSWF2 xmlns="b3bc04a5-d503-43b1-b98c-a8cf663329d9">
      <Url xsi:nil="true"/>
      <Description xsi:nil="true"/>
    </ODSWF2>
    <ODSWF_x0028_1_x0029_ xmlns="b3bc04a5-d503-43b1-b98c-a8cf663329d9">
      <Url xsi:nil="true"/>
      <Description xsi:nil="true"/>
    </ODSWF_x0028_1_x0029_>
    <ODSWF_x0028_1_x0029_0 xmlns="b3bc04a5-d503-43b1-b98c-a8cf663329d9">
      <Url xsi:nil="true"/>
      <Description xsi:nil="true"/>
    </ODSWF_x0028_1_x0029_0>
    <Update_x0020_Parent_x0020_Child_x0020_Relation_x0028_1_x0029_1 xmlns="b3bc04a5-d503-43b1-b98c-a8cf663329d9">
      <Url xsi:nil="true"/>
      <Description xsi:nil="true"/>
    </Update_x0020_Parent_x0020_Child_x0020_Relation_x0028_1_x0029_1>
    <ODSWF1 xmlns="b3bc04a5-d503-43b1-b98c-a8cf663329d9">
      <Url xsi:nil="true"/>
      <Description xsi:nil="true"/>
    </ODSWF1>
    <ODSWF2_x0028_1_x0029_0 xmlns="b3bc04a5-d503-43b1-b98c-a8cf663329d9">
      <Url xsi:nil="true"/>
      <Description xsi:nil="true"/>
    </ODSWF2_x0028_1_x0029_0>
    <ODSWF_x0028_1_x0029_1 xmlns="b3bc04a5-d503-43b1-b98c-a8cf663329d9">
      <Url xsi:nil="true"/>
      <Description xsi:nil="true"/>
    </ODSWF_x0028_1_x0029_1>
  </documentManagement>
</p:properties>
</file>

<file path=customXml/item5.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48" ma:contentTypeDescription="A document content type used by Infopedia." ma:contentTypeScope="" ma:versionID="9ba619dd261563bd5d6ea70122cbd502">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2478d1b8-79bf-461f-b8e8-704d21601f1a" targetNamespace="http://schemas.microsoft.com/office/2006/metadata/properties" ma:root="true" ma:fieldsID="6b687f397214d6103d792076ec318daf" ns1:_="" ns2:_="" ns3:_="" ns4:_="" ns5:_="">
    <xsd:import namespace="http://schemas.microsoft.com/sharepoint/v3"/>
    <xsd:import namespace="230e9df3-be65-4c73-a93b-d1236ebd677e"/>
    <xsd:import namespace="230E9DF3-BE65-4C73-A93B-D1236EBD677E"/>
    <xsd:import namespace="b3bc04a5-d503-43b1-b98c-a8cf663329d9"/>
    <xsd:import namespace="2478d1b8-79bf-461f-b8e8-704d21601f1a"/>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element ref="ns1:_ip_UnifiedCompliancePolicyProperties" minOccurs="0"/>
                <xsd:element ref="ns1:_ip_UnifiedCompliancePolicyUIAction" minOccurs="0"/>
                <xsd:element ref="ns5:LastSharedByUser" minOccurs="0"/>
                <xsd:element ref="ns5:LastSharedByTime" minOccurs="0"/>
                <xsd:element ref="ns4:ODSWF2" minOccurs="0"/>
                <xsd:element ref="ns4:Update_x0020_Parent_x0020_Child_x0020_Relation_x0028_1_x0029_1" minOccurs="0"/>
                <xsd:element ref="ns4:ODSWF_x0028_1_x0029_" minOccurs="0"/>
                <xsd:element ref="ns4:ODSWF2_x0028_1_x0029_" minOccurs="0"/>
                <xsd:element ref="ns4:ODSWF_x0028_1_x0029_0" minOccurs="0"/>
                <xsd:element ref="ns4:ODSWF_x0028_1_x0029_1" minOccurs="0"/>
                <xsd:element ref="ns4:ODSWF1" minOccurs="0"/>
                <xsd:element ref="ns4:ODSWF2_x0028_1_x0029_0"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69" nillable="true" ma:displayName="Unified Compliance Policy Properties" ma:hidden="true" ma:internalName="_ip_UnifiedCompliancePolicyProperties">
      <xsd:simpleType>
        <xsd:restriction base="dms:Note"/>
      </xsd:simpleType>
    </xsd:element>
    <xsd:element name="_ip_UnifiedCompliancePolicyUIAction" ma:index="7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2" ma:index="73" nillable="true" ma:displayName="ODSWF2" ma:internalName="ODSWF2">
      <xsd:complexType>
        <xsd:complexContent>
          <xsd:extension base="dms:URL">
            <xsd:sequence>
              <xsd:element name="Url" type="dms:ValidUrl" minOccurs="0" nillable="true"/>
              <xsd:element name="Description" type="xsd:string" nillable="true"/>
            </xsd:sequence>
          </xsd:extension>
        </xsd:complexContent>
      </xsd:complexType>
    </xsd:element>
    <xsd:element name="Update_x0020_Parent_x0020_Child_x0020_Relation_x0028_1_x0029_1" ma:index="74" nillable="true" ma:displayName="Update Parent Child Relation" ma:internalName="Update_x0020_Parent_x0020_Child_x0020_Relation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 ma:index="75" nillable="true" ma:displayName="ODSWF" ma:internalName="ODSWF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 ma:index="76" nillable="true" ma:displayName="ODSWF2" ma:internalName="ODSWF2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0" ma:index="77" nillable="true" ma:displayName="ODSWF" ma:internalName="ODSWF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1" ma:index="78" nillable="true" ma:displayName="ODSWF" ma:internalName="ODSWF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1" ma:index="79" nillable="true" ma:displayName="ODSWF1" ma:internalName="ODSWF1">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0" ma:index="80" nillable="true" ma:displayName="ODSWF2" ma:internalName="ODSWF2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MediaServiceMetadata" ma:index="81" nillable="true" ma:displayName="MediaServiceMetadata" ma:description="" ma:hidden="true" ma:internalName="MediaServiceMetadata" ma:readOnly="true">
      <xsd:simpleType>
        <xsd:restriction base="dms:Note"/>
      </xsd:simpleType>
    </xsd:element>
    <xsd:element name="MediaServiceFastMetadata" ma:index="82"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478d1b8-79bf-461f-b8e8-704d21601f1a" elementFormDefault="qualified">
    <xsd:import namespace="http://schemas.microsoft.com/office/2006/documentManagement/types"/>
    <xsd:import namespace="http://schemas.microsoft.com/office/infopath/2007/PartnerControls"/>
    <xsd:element name="LastSharedByUser" ma:index="71" nillable="true" ma:displayName="Last Shared By User" ma:description="" ma:internalName="LastSharedByUser" ma:readOnly="true">
      <xsd:simpleType>
        <xsd:restriction base="dms:Note">
          <xsd:maxLength value="255"/>
        </xsd:restriction>
      </xsd:simpleType>
    </xsd:element>
    <xsd:element name="LastSharedByTime" ma:index="7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F332D79-343D-45CE-A5BB-A91AB9C70F18}">
  <ds:schemaRefs>
    <ds:schemaRef ds:uri="http://schemas.microsoft.com/sharepoint/events"/>
  </ds:schemaRefs>
</ds:datastoreItem>
</file>

<file path=customXml/itemProps2.xml><?xml version="1.0" encoding="utf-8"?>
<ds:datastoreItem xmlns:ds="http://schemas.openxmlformats.org/officeDocument/2006/customXml" ds:itemID="{4A91CCF8-DBE7-496C-8F99-B7F171222768}">
  <ds:schemaRefs>
    <ds:schemaRef ds:uri="Microsoft.SharePoint.Taxonomy.ContentTypeSync"/>
  </ds:schemaRefs>
</ds:datastoreItem>
</file>

<file path=customXml/itemProps3.xml><?xml version="1.0" encoding="utf-8"?>
<ds:datastoreItem xmlns:ds="http://schemas.openxmlformats.org/officeDocument/2006/customXml" ds:itemID="{DB1FBE49-5F35-4583-9F58-86E2BA8FB2D9}">
  <ds:schemaRefs>
    <ds:schemaRef ds:uri="http://schemas.microsoft.com/sharepoint/v3/contenttype/forms"/>
  </ds:schemaRefs>
</ds:datastoreItem>
</file>

<file path=customXml/itemProps4.xml><?xml version="1.0" encoding="utf-8"?>
<ds:datastoreItem xmlns:ds="http://schemas.openxmlformats.org/officeDocument/2006/customXml" ds:itemID="{DC2113BE-EED2-4AD4-A28B-B44514FECDD6}">
  <ds:schemaRefs>
    <ds:schemaRef ds:uri="http://schemas.microsoft.com/office/2006/metadata/properties"/>
    <ds:schemaRef ds:uri="2478d1b8-79bf-461f-b8e8-704d21601f1a"/>
    <ds:schemaRef ds:uri="http://purl.org/dc/elements/1.1/"/>
    <ds:schemaRef ds:uri="http://purl.org/dc/dcmitype/"/>
    <ds:schemaRef ds:uri="230e9df3-be65-4c73-a93b-d1236ebd677e"/>
    <ds:schemaRef ds:uri="http://schemas.openxmlformats.org/package/2006/metadata/core-properties"/>
    <ds:schemaRef ds:uri="http://schemas.microsoft.com/office/2006/documentManagement/types"/>
    <ds:schemaRef ds:uri="http://purl.org/dc/terms/"/>
    <ds:schemaRef ds:uri="230E9DF3-BE65-4C73-A93B-D1236EBD677E"/>
    <ds:schemaRef ds:uri="http://schemas.microsoft.com/office/infopath/2007/PartnerControls"/>
    <ds:schemaRef ds:uri="b3bc04a5-d503-43b1-b98c-a8cf663329d9"/>
    <ds:schemaRef ds:uri="http://schemas.microsoft.com/sharepoint/v3"/>
    <ds:schemaRef ds:uri="http://www.w3.org/XML/1998/namespace"/>
  </ds:schemaRefs>
</ds:datastoreItem>
</file>

<file path=customXml/itemProps5.xml><?xml version="1.0" encoding="utf-8"?>
<ds:datastoreItem xmlns:ds="http://schemas.openxmlformats.org/officeDocument/2006/customXml" ds:itemID="{F4205205-8DD3-4069-977B-77E6F73E074B}">
  <ds:schemaRefs>
    <ds:schemaRef ds:uri="230E9DF3-BE65-4C73-A93B-D1236EBD677E"/>
    <ds:schemaRef ds:uri="230e9df3-be65-4c73-a93b-d1236ebd677e"/>
    <ds:schemaRef ds:uri="2478d1b8-79bf-461f-b8e8-704d21601f1a"/>
    <ds:schemaRef ds:uri="b3bc04a5-d503-43b1-b98c-a8cf663329d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8279</Words>
  <Application>Microsoft Office PowerPoint</Application>
  <PresentationFormat>Widescreen</PresentationFormat>
  <Paragraphs>784</Paragraphs>
  <Slides>28</Slides>
  <Notes>22</Notes>
  <HiddenSlides>7</HiddenSlides>
  <MMClips>0</MMClips>
  <ScaleCrop>false</ScaleCrop>
  <HeadingPairs>
    <vt:vector size="8" baseType="variant">
      <vt:variant>
        <vt:lpstr>Fonts Used</vt:lpstr>
      </vt:variant>
      <vt:variant>
        <vt:i4>15</vt:i4>
      </vt:variant>
      <vt:variant>
        <vt:lpstr>Theme</vt:lpstr>
      </vt:variant>
      <vt:variant>
        <vt:i4>12</vt:i4>
      </vt:variant>
      <vt:variant>
        <vt:lpstr>Embedded OLE Servers</vt:lpstr>
      </vt:variant>
      <vt:variant>
        <vt:i4>1</vt:i4>
      </vt:variant>
      <vt:variant>
        <vt:lpstr>Slide Titles</vt:lpstr>
      </vt:variant>
      <vt:variant>
        <vt:i4>28</vt:i4>
      </vt:variant>
    </vt:vector>
  </HeadingPairs>
  <TitlesOfParts>
    <vt:vector size="56" baseType="lpstr">
      <vt:lpstr>Arial</vt:lpstr>
      <vt:lpstr>Calibri</vt:lpstr>
      <vt:lpstr>Consolas</vt:lpstr>
      <vt:lpstr>Corbel</vt:lpstr>
      <vt:lpstr>Courier New</vt:lpstr>
      <vt:lpstr>HelvNeue Light for IBM</vt:lpstr>
      <vt:lpstr>Segoe Semibold</vt:lpstr>
      <vt:lpstr>Segoe UI</vt:lpstr>
      <vt:lpstr>Segoe UI Light</vt:lpstr>
      <vt:lpstr>Segoe UI Light (Headings)</vt:lpstr>
      <vt:lpstr>Segoe UI Semibold</vt:lpstr>
      <vt:lpstr>Segoe UI Semilight</vt:lpstr>
      <vt:lpstr>Symbol</vt:lpstr>
      <vt:lpstr>Wingdings</vt:lpstr>
      <vt:lpstr>Wingdings 3</vt:lpstr>
      <vt:lpstr>STB Product Families 2013</vt:lpstr>
      <vt:lpstr>5-30610_Microsoft_Ignite_Keynote_Template</vt:lpstr>
      <vt:lpstr>Template</vt:lpstr>
      <vt:lpstr>1_STB Product Families 2015</vt:lpstr>
      <vt:lpstr>2_STB Product Families 2015</vt:lpstr>
      <vt:lpstr>Azure 1</vt:lpstr>
      <vt:lpstr>6_WHITE TEMPLATE</vt:lpstr>
      <vt:lpstr>1_WHITE TEMPLATE</vt:lpstr>
      <vt:lpstr>WHITE TEMPLATE</vt:lpstr>
      <vt:lpstr>6-50001_WPC 2016 Breakout Template</vt:lpstr>
      <vt:lpstr>Depth</vt:lpstr>
      <vt:lpstr>WHITE TEMPLATE</vt:lpstr>
      <vt:lpstr>think-cell Slide</vt:lpstr>
      <vt:lpstr>PowerPoint Presentation</vt:lpstr>
      <vt:lpstr>PowerPoint Presentation</vt:lpstr>
      <vt:lpstr>Power BI Overview</vt:lpstr>
      <vt:lpstr>PowerPoint Presentation</vt:lpstr>
      <vt:lpstr>PowerPoint Presentation</vt:lpstr>
      <vt:lpstr>PowerPoint Presentation</vt:lpstr>
      <vt:lpstr>PowerPoint Presentation</vt:lpstr>
      <vt:lpstr>Power BI Licensing</vt:lpstr>
      <vt:lpstr>Power BI Licensing</vt:lpstr>
      <vt:lpstr>Power BI Premium pricing </vt:lpstr>
      <vt:lpstr>Power BI Tooling</vt:lpstr>
      <vt:lpstr>Power BI Report Hosting Options</vt:lpstr>
      <vt:lpstr>Example of Power BI Licensing Scenario (TBA)</vt:lpstr>
      <vt:lpstr>Why Power B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55</cp:revision>
  <dcterms:modified xsi:type="dcterms:W3CDTF">2021-06-14T09:01: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CC074746C0EF6D439A06F1AAD31A3C2B</vt:lpwstr>
  </property>
  <property fmtid="{D5CDD505-2E9C-101B-9397-08002B2CF9AE}" pid="3" name="p1cd454bacc149bfbcfd764edd279de7">
    <vt:lpwstr/>
  </property>
  <property fmtid="{D5CDD505-2E9C-101B-9397-08002B2CF9AE}" pid="4" name="of67e5d4b76f4a9db8769983fda9cec0">
    <vt:lpwstr/>
  </property>
  <property fmtid="{D5CDD505-2E9C-101B-9397-08002B2CF9AE}" pid="5" name="TaxKeyword">
    <vt:lpwstr/>
  </property>
  <property fmtid="{D5CDD505-2E9C-101B-9397-08002B2CF9AE}" pid="6" name="NewsType">
    <vt:lpwstr/>
  </property>
  <property fmtid="{D5CDD505-2E9C-101B-9397-08002B2CF9AE}" pid="7" name="_dlc_policyId">
    <vt:lpwstr/>
  </property>
  <property fmtid="{D5CDD505-2E9C-101B-9397-08002B2CF9AE}" pid="8" name="Region">
    <vt:lpwstr/>
  </property>
  <property fmtid="{D5CDD505-2E9C-101B-9397-08002B2CF9AE}" pid="9" name="Confidentiality">
    <vt:lpwstr>14;#customer ready|8986c41d-21c5-4f8f-8a12-ea4625b46858</vt:lpwstr>
  </property>
  <property fmtid="{D5CDD505-2E9C-101B-9397-08002B2CF9AE}" pid="10" name="ItemType">
    <vt:lpwstr>108;#sales presentations|355751b2-6406-4ba2-8a81-0ca1b45d0070</vt:lpwstr>
  </property>
  <property fmtid="{D5CDD505-2E9C-101B-9397-08002B2CF9AE}" pid="11" name="bc28b5f076654a3b96073bbbebfeb8c9">
    <vt:lpwstr/>
  </property>
  <property fmtid="{D5CDD505-2E9C-101B-9397-08002B2CF9AE}" pid="12" name="ga0c0bf70a6644469c61b3efa7025301">
    <vt:lpwstr/>
  </property>
  <property fmtid="{D5CDD505-2E9C-101B-9397-08002B2CF9AE}" pid="13" name="Industries">
    <vt:lpwstr/>
  </property>
  <property fmtid="{D5CDD505-2E9C-101B-9397-08002B2CF9AE}" pid="14" name="j4d667fb28274e85b2214f6e751c8d1f">
    <vt:lpwstr/>
  </property>
  <property fmtid="{D5CDD505-2E9C-101B-9397-08002B2CF9AE}" pid="15" name="MSProducts">
    <vt:lpwstr/>
  </property>
  <property fmtid="{D5CDD505-2E9C-101B-9397-08002B2CF9AE}" pid="16" name="Competitors">
    <vt:lpwstr/>
  </property>
  <property fmtid="{D5CDD505-2E9C-101B-9397-08002B2CF9AE}" pid="17" name="SMSGDomain">
    <vt:lpwstr>82;#SQL Server Domain|0c0f1824-39dc-4b26-8c74-eff4364b812b;#22;#Server and Tools Business|6783548d-8609-4f97-be4a-4ca2616905a6</vt:lpwstr>
  </property>
  <property fmtid="{D5CDD505-2E9C-101B-9397-08002B2CF9AE}" pid="18" name="ExperienceContentType">
    <vt:lpwstr/>
  </property>
  <property fmtid="{D5CDD505-2E9C-101B-9397-08002B2CF9AE}" pid="19" name="BusinessArchitecture">
    <vt:lpwstr>231;#business intelligence|e1f9659f-bde9-4479-81f9-2bc6e8ec0057;#166;#Power BI solution|a774047b-2f39-4ee6-a302-4d53f94b9400</vt:lpwstr>
  </property>
  <property fmtid="{D5CDD505-2E9C-101B-9397-08002B2CF9AE}" pid="20" name="j031aa32f4154c8c9a646efae715ebde">
    <vt:lpwstr/>
  </property>
  <property fmtid="{D5CDD505-2E9C-101B-9397-08002B2CF9AE}" pid="21" name="Products">
    <vt:lpwstr>73;#Microsoft SQL Server|261ba873-f3ab-420e-96d6-e3004596a551;#598;#Microsoft SQL Server Business Intelligence|9ffb7045-1f1b-41c0-987f-ffdc7c6f53c0</vt:lpwstr>
  </property>
  <property fmtid="{D5CDD505-2E9C-101B-9397-08002B2CF9AE}" pid="22" name="WorkflowChangePath">
    <vt:lpwstr>4c942473-d120-4286-a51a-b65ad3d92ffb,4;4c942473-d120-4286-a51a-b65ad3d92ffb,15;</vt:lpwstr>
  </property>
  <property fmtid="{D5CDD505-2E9C-101B-9397-08002B2CF9AE}" pid="23" name="ContentExtensions">
    <vt:lpwstr/>
  </property>
  <property fmtid="{D5CDD505-2E9C-101B-9397-08002B2CF9AE}" pid="24" name="l6f004f21209409da86a713c0f24627d">
    <vt:lpwstr/>
  </property>
  <property fmtid="{D5CDD505-2E9C-101B-9397-08002B2CF9AE}" pid="25" name="MSProductsTaxHTField0">
    <vt:lpwstr/>
  </property>
  <property fmtid="{D5CDD505-2E9C-101B-9397-08002B2CF9AE}" pid="26" name="Topics">
    <vt:lpwstr/>
  </property>
  <property fmtid="{D5CDD505-2E9C-101B-9397-08002B2CF9AE}" pid="27" name="Groups">
    <vt:lpwstr>399;#SQL Server Marketing|bb7921b3-c1d8-4da4-b894-8b6075d9546d;#42;#Cloud and Enterprise Marketing Group|4f75e184-e5aa-4234-a07f-b032d60df254</vt:lpwstr>
  </property>
  <property fmtid="{D5CDD505-2E9C-101B-9397-08002B2CF9AE}" pid="28" name="_docset_NoMedatataSyncRequired">
    <vt:lpwstr>False</vt:lpwstr>
  </property>
  <property fmtid="{D5CDD505-2E9C-101B-9397-08002B2CF9AE}" pid="29" name="MSLanguage">
    <vt:lpwstr/>
  </property>
  <property fmtid="{D5CDD505-2E9C-101B-9397-08002B2CF9AE}" pid="30" name="e8080b0481964c759b2c36ae49591b31">
    <vt:lpwstr/>
  </property>
  <property fmtid="{D5CDD505-2E9C-101B-9397-08002B2CF9AE}" pid="31" name="Languages">
    <vt:lpwstr/>
  </property>
  <property fmtid="{D5CDD505-2E9C-101B-9397-08002B2CF9AE}" pid="32" name="messageframeworktype">
    <vt:lpwstr/>
  </property>
  <property fmtid="{D5CDD505-2E9C-101B-9397-08002B2CF9AE}" pid="33" name="cb7870d3641f4a52807a63577a9c1b08">
    <vt:lpwstr/>
  </property>
  <property fmtid="{D5CDD505-2E9C-101B-9397-08002B2CF9AE}" pid="34" name="TechnicalLevel">
    <vt:lpwstr/>
  </property>
  <property fmtid="{D5CDD505-2E9C-101B-9397-08002B2CF9AE}" pid="35" name="Audiences">
    <vt:lpwstr/>
  </property>
  <property fmtid="{D5CDD505-2E9C-101B-9397-08002B2CF9AE}" pid="36" name="LearningOrganization">
    <vt:lpwstr/>
  </property>
  <property fmtid="{D5CDD505-2E9C-101B-9397-08002B2CF9AE}" pid="37" name="ldac8aee9d1f469e8cd8c3f8d6a615f2">
    <vt:lpwstr/>
  </property>
  <property fmtid="{D5CDD505-2E9C-101B-9397-08002B2CF9AE}" pid="38" name="EmployeeRole">
    <vt:lpwstr/>
  </property>
  <property fmtid="{D5CDD505-2E9C-101B-9397-08002B2CF9AE}" pid="39" name="NewsTopic">
    <vt:lpwstr/>
  </property>
  <property fmtid="{D5CDD505-2E9C-101B-9397-08002B2CF9AE}" pid="40" name="SharedWithUsers">
    <vt:lpwstr>63906;#Hui Jeng Lee (Alfa Connections Pte Ltd)</vt:lpwstr>
  </property>
  <property fmtid="{D5CDD505-2E9C-101B-9397-08002B2CF9AE}" pid="41" name="LearningDeliveryMethod">
    <vt:lpwstr/>
  </property>
  <property fmtid="{D5CDD505-2E9C-101B-9397-08002B2CF9AE}" pid="42" name="SalesGeography">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af37f9f5-2cea-4855-bf23-afabc7a3b631</vt:lpwstr>
  </property>
  <property fmtid="{D5CDD505-2E9C-101B-9397-08002B2CF9AE}" pid="48" name="MSPhysicalGeography">
    <vt:lpwstr/>
  </property>
  <property fmtid="{D5CDD505-2E9C-101B-9397-08002B2CF9AE}" pid="49" name="EnterpriseDomainTags">
    <vt:lpwstr/>
  </property>
  <property fmtid="{D5CDD505-2E9C-101B-9397-08002B2CF9AE}" pid="50" name="l311460e3fdf46688abc31ddb7bdc05a">
    <vt:lpwstr/>
  </property>
  <property fmtid="{D5CDD505-2E9C-101B-9397-08002B2CF9AE}" pid="51" name="j3562c58ee414e028925bc902cfc01a1">
    <vt:lpwstr/>
  </property>
  <property fmtid="{D5CDD505-2E9C-101B-9397-08002B2CF9AE}" pid="52" name="ActivitiesAndPrograms">
    <vt:lpwstr/>
  </property>
  <property fmtid="{D5CDD505-2E9C-101B-9397-08002B2CF9AE}" pid="53" name="Segments">
    <vt:lpwstr/>
  </property>
  <property fmtid="{D5CDD505-2E9C-101B-9397-08002B2CF9AE}" pid="54" name="Partners">
    <vt:lpwstr/>
  </property>
  <property fmtid="{D5CDD505-2E9C-101B-9397-08002B2CF9AE}" pid="55" name="la4444b61d19467597d63190b69ac227">
    <vt:lpwstr/>
  </property>
  <property fmtid="{D5CDD505-2E9C-101B-9397-08002B2CF9AE}" pid="56" name="MSIP_Label_f42aa342-8706-4288-bd11-ebb85995028c_Enabled">
    <vt:lpwstr>True</vt:lpwstr>
  </property>
  <property fmtid="{D5CDD505-2E9C-101B-9397-08002B2CF9AE}" pid="57" name="MSIP_Label_f42aa342-8706-4288-bd11-ebb85995028c_SiteId">
    <vt:lpwstr>72f988bf-86f1-41af-91ab-2d7cd011db47</vt:lpwstr>
  </property>
  <property fmtid="{D5CDD505-2E9C-101B-9397-08002B2CF9AE}" pid="58" name="MSIP_Label_f42aa342-8706-4288-bd11-ebb85995028c_Owner">
    <vt:lpwstr>jaaamodt@microsoft.com</vt:lpwstr>
  </property>
  <property fmtid="{D5CDD505-2E9C-101B-9397-08002B2CF9AE}" pid="59" name="MSIP_Label_f42aa342-8706-4288-bd11-ebb85995028c_SetDate">
    <vt:lpwstr>2018-02-09T07:26:04.7751301Z</vt:lpwstr>
  </property>
  <property fmtid="{D5CDD505-2E9C-101B-9397-08002B2CF9AE}" pid="60" name="MSIP_Label_f42aa342-8706-4288-bd11-ebb85995028c_Name">
    <vt:lpwstr>General</vt:lpwstr>
  </property>
  <property fmtid="{D5CDD505-2E9C-101B-9397-08002B2CF9AE}" pid="61" name="MSIP_Label_f42aa342-8706-4288-bd11-ebb85995028c_Application">
    <vt:lpwstr>Microsoft Azure Information Protection</vt:lpwstr>
  </property>
  <property fmtid="{D5CDD505-2E9C-101B-9397-08002B2CF9AE}" pid="62" name="MSIP_Label_f42aa342-8706-4288-bd11-ebb85995028c_Extended_MSFT_Method">
    <vt:lpwstr>Automatic</vt:lpwstr>
  </property>
  <property fmtid="{D5CDD505-2E9C-101B-9397-08002B2CF9AE}" pid="63" name="Sensitivity">
    <vt:lpwstr>General</vt:lpwstr>
  </property>
</Properties>
</file>